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3" r:id="rId2"/>
    <p:sldMasterId id="2147483709" r:id="rId3"/>
  </p:sldMasterIdLst>
  <p:notesMasterIdLst>
    <p:notesMasterId r:id="rId12"/>
  </p:notes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8245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7" autoAdjust="0"/>
    <p:restoredTop sz="94660"/>
  </p:normalViewPr>
  <p:slideViewPr>
    <p:cSldViewPr snapToGrid="0">
      <p:cViewPr varScale="1">
        <p:scale>
          <a:sx n="74" d="100"/>
          <a:sy n="74" d="100"/>
        </p:scale>
        <p:origin x="45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64C7724-AB33-4F79-8CAC-ED1761BDC6AB}" type="doc">
      <dgm:prSet loTypeId="urn:microsoft.com/office/officeart/2005/8/layout/bProcess3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GB"/>
        </a:p>
      </dgm:t>
    </dgm:pt>
    <dgm:pt modelId="{35AFA9B2-BCE0-4D79-A512-CCFD3335CA5D}">
      <dgm:prSet phldrT="[Text]" custT="1"/>
      <dgm:spPr>
        <a:solidFill>
          <a:srgbClr val="582458"/>
        </a:solidFill>
      </dgm:spPr>
      <dgm:t>
        <a:bodyPr/>
        <a:lstStyle/>
        <a:p>
          <a:r>
            <a:rPr lang="en-GB" sz="1200" dirty="0" smtClean="0"/>
            <a:t>Complaint No. –Can be automatic generated </a:t>
          </a:r>
          <a:endParaRPr lang="en-GB" sz="1200" dirty="0"/>
        </a:p>
      </dgm:t>
    </dgm:pt>
    <dgm:pt modelId="{E10E12C4-4D91-4033-B62D-7BBC99F35BE4}" type="parTrans" cxnId="{332F3CE4-35D8-4B29-B1F3-DD98AFA607D0}">
      <dgm:prSet/>
      <dgm:spPr/>
      <dgm:t>
        <a:bodyPr/>
        <a:lstStyle/>
        <a:p>
          <a:endParaRPr lang="en-GB"/>
        </a:p>
      </dgm:t>
    </dgm:pt>
    <dgm:pt modelId="{7EEBE07B-87B9-411F-9D0D-0FFAA5E91B88}" type="sibTrans" cxnId="{332F3CE4-35D8-4B29-B1F3-DD98AFA607D0}">
      <dgm:prSet/>
      <dgm:spPr/>
      <dgm:t>
        <a:bodyPr/>
        <a:lstStyle/>
        <a:p>
          <a:endParaRPr lang="en-GB"/>
        </a:p>
      </dgm:t>
    </dgm:pt>
    <dgm:pt modelId="{32B1A902-2A23-412A-BBF0-B69355B4524A}">
      <dgm:prSet phldrT="[Text]"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n-GB" sz="1200" dirty="0" smtClean="0"/>
            <a:t>Customer name </a:t>
          </a:r>
          <a:endParaRPr lang="en-GB" sz="1200" dirty="0"/>
        </a:p>
      </dgm:t>
    </dgm:pt>
    <dgm:pt modelId="{1E031237-624C-449F-8551-C71FB43A096E}" type="parTrans" cxnId="{97E1AF13-3DB2-4007-B869-9FD7AACE47E2}">
      <dgm:prSet/>
      <dgm:spPr/>
      <dgm:t>
        <a:bodyPr/>
        <a:lstStyle/>
        <a:p>
          <a:endParaRPr lang="en-GB"/>
        </a:p>
      </dgm:t>
    </dgm:pt>
    <dgm:pt modelId="{E3ED32FE-D5A7-4D36-AE87-327709106AAD}" type="sibTrans" cxnId="{97E1AF13-3DB2-4007-B869-9FD7AACE47E2}">
      <dgm:prSet/>
      <dgm:spPr/>
      <dgm:t>
        <a:bodyPr/>
        <a:lstStyle/>
        <a:p>
          <a:endParaRPr lang="en-GB"/>
        </a:p>
      </dgm:t>
    </dgm:pt>
    <dgm:pt modelId="{43ED775F-0416-4B4F-96D5-A83F54156367}">
      <dgm:prSet phldrT="[Text]" custT="1"/>
      <dgm:spPr>
        <a:solidFill>
          <a:srgbClr val="FFC000"/>
        </a:solidFill>
      </dgm:spPr>
      <dgm:t>
        <a:bodyPr/>
        <a:lstStyle/>
        <a:p>
          <a:r>
            <a:rPr lang="en-GB" sz="1200" dirty="0" smtClean="0"/>
            <a:t>Area or region of the customer –Central,Dar,North ,South ,Zanzibar</a:t>
          </a:r>
          <a:endParaRPr lang="en-GB" sz="1200" dirty="0"/>
        </a:p>
      </dgm:t>
    </dgm:pt>
    <dgm:pt modelId="{664931F2-612B-47B9-BE8B-1D6C3672416A}" type="parTrans" cxnId="{B5060BEF-C146-4485-81AE-17CF4F4B9BEA}">
      <dgm:prSet/>
      <dgm:spPr/>
      <dgm:t>
        <a:bodyPr/>
        <a:lstStyle/>
        <a:p>
          <a:endParaRPr lang="en-GB"/>
        </a:p>
      </dgm:t>
    </dgm:pt>
    <dgm:pt modelId="{793D203A-B132-4356-8BA5-D4D83716C06B}" type="sibTrans" cxnId="{B5060BEF-C146-4485-81AE-17CF4F4B9BEA}">
      <dgm:prSet/>
      <dgm:spPr/>
      <dgm:t>
        <a:bodyPr/>
        <a:lstStyle/>
        <a:p>
          <a:endParaRPr lang="en-GB"/>
        </a:p>
      </dgm:t>
    </dgm:pt>
    <dgm:pt modelId="{4F5AA45A-41A7-4A15-BFCB-03520E28EBCE}">
      <dgm:prSet phldrT="[Text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GB" sz="1200" dirty="0" smtClean="0"/>
            <a:t>Date of complaint received –To be inserted manually </a:t>
          </a:r>
          <a:endParaRPr lang="en-GB" sz="1200" dirty="0"/>
        </a:p>
      </dgm:t>
    </dgm:pt>
    <dgm:pt modelId="{5203B3C7-623A-40F3-8545-1324C84B32ED}" type="parTrans" cxnId="{0A17905F-9771-4C79-8D82-AEE4FBDC32CD}">
      <dgm:prSet/>
      <dgm:spPr/>
      <dgm:t>
        <a:bodyPr/>
        <a:lstStyle/>
        <a:p>
          <a:endParaRPr lang="en-GB"/>
        </a:p>
      </dgm:t>
    </dgm:pt>
    <dgm:pt modelId="{1D045113-86B5-4F65-BD18-1F1984EED53E}" type="sibTrans" cxnId="{0A17905F-9771-4C79-8D82-AEE4FBDC32CD}">
      <dgm:prSet/>
      <dgm:spPr/>
      <dgm:t>
        <a:bodyPr/>
        <a:lstStyle/>
        <a:p>
          <a:endParaRPr lang="en-GB"/>
        </a:p>
      </dgm:t>
    </dgm:pt>
    <dgm:pt modelId="{C364A23E-7E3B-4A08-BDB2-9C88A6A31BBB}">
      <dgm:prSet phldrT="[Text]" custT="1"/>
      <dgm:spPr>
        <a:solidFill>
          <a:srgbClr val="C00000"/>
        </a:solidFill>
      </dgm:spPr>
      <dgm:t>
        <a:bodyPr/>
        <a:lstStyle/>
        <a:p>
          <a:r>
            <a:rPr lang="en-GB" sz="1200" dirty="0" smtClean="0"/>
            <a:t>Nature of the Complaint</a:t>
          </a:r>
        </a:p>
        <a:p>
          <a:r>
            <a:rPr lang="en-GB" sz="1200" dirty="0" smtClean="0"/>
            <a:t> </a:t>
          </a:r>
          <a:endParaRPr lang="en-GB" sz="1200" dirty="0"/>
        </a:p>
      </dgm:t>
    </dgm:pt>
    <dgm:pt modelId="{A201BCF4-7902-4BD0-B9B8-526485460316}" type="parTrans" cxnId="{23863EBB-BDA2-4267-A32A-B197EF99A7EC}">
      <dgm:prSet/>
      <dgm:spPr/>
      <dgm:t>
        <a:bodyPr/>
        <a:lstStyle/>
        <a:p>
          <a:endParaRPr lang="en-GB"/>
        </a:p>
      </dgm:t>
    </dgm:pt>
    <dgm:pt modelId="{98761B01-0135-4DC9-B1E1-F36CD7A5E42C}" type="sibTrans" cxnId="{23863EBB-BDA2-4267-A32A-B197EF99A7EC}">
      <dgm:prSet/>
      <dgm:spPr/>
      <dgm:t>
        <a:bodyPr/>
        <a:lstStyle/>
        <a:p>
          <a:endParaRPr lang="en-GB"/>
        </a:p>
      </dgm:t>
    </dgm:pt>
    <dgm:pt modelId="{6D0D447F-F351-4578-8621-6DA44A2C5BEA}">
      <dgm:prSet phldrT="[Text]" custT="1"/>
      <dgm:spPr>
        <a:solidFill>
          <a:srgbClr val="00B0F0"/>
        </a:solidFill>
      </dgm:spPr>
      <dgm:t>
        <a:bodyPr/>
        <a:lstStyle/>
        <a:p>
          <a:r>
            <a:rPr lang="en-GB" sz="1200" dirty="0" smtClean="0"/>
            <a:t>Details of the complaint </a:t>
          </a:r>
          <a:endParaRPr lang="en-GB" sz="1200" dirty="0"/>
        </a:p>
      </dgm:t>
    </dgm:pt>
    <dgm:pt modelId="{3A983C26-AC4D-4132-96E4-4BB7DFE6D73E}" type="parTrans" cxnId="{CB833629-139D-4120-B7DE-105C4C7D433A}">
      <dgm:prSet/>
      <dgm:spPr/>
      <dgm:t>
        <a:bodyPr/>
        <a:lstStyle/>
        <a:p>
          <a:endParaRPr lang="en-GB"/>
        </a:p>
      </dgm:t>
    </dgm:pt>
    <dgm:pt modelId="{5451BE4F-0D31-41F6-B0FE-14F6EF4C4FC4}" type="sibTrans" cxnId="{CB833629-139D-4120-B7DE-105C4C7D433A}">
      <dgm:prSet/>
      <dgm:spPr/>
      <dgm:t>
        <a:bodyPr/>
        <a:lstStyle/>
        <a:p>
          <a:endParaRPr lang="en-GB"/>
        </a:p>
      </dgm:t>
    </dgm:pt>
    <dgm:pt modelId="{ADDC01C9-E3A3-4D22-AC21-0E8A7C22843E}" type="pres">
      <dgm:prSet presAssocID="{464C7724-AB33-4F79-8CAC-ED1761BDC6AB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5599F298-B1FD-4ED7-91C2-ED0783306877}" type="pres">
      <dgm:prSet presAssocID="{35AFA9B2-BCE0-4D79-A512-CCFD3335CA5D}" presName="node" presStyleLbl="node1" presStyleIdx="0" presStyleCnt="6" custScaleX="84742" custScaleY="8101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177FB113-5BA7-4ADB-B58A-25411C8D6025}" type="pres">
      <dgm:prSet presAssocID="{7EEBE07B-87B9-411F-9D0D-0FFAA5E91B88}" presName="sibTrans" presStyleLbl="sibTrans1D1" presStyleIdx="0" presStyleCnt="5"/>
      <dgm:spPr/>
      <dgm:t>
        <a:bodyPr/>
        <a:lstStyle/>
        <a:p>
          <a:endParaRPr lang="en-GB"/>
        </a:p>
      </dgm:t>
    </dgm:pt>
    <dgm:pt modelId="{89E3076A-7FE0-4745-86B5-76202CAA8851}" type="pres">
      <dgm:prSet presAssocID="{7EEBE07B-87B9-411F-9D0D-0FFAA5E91B88}" presName="connectorText" presStyleLbl="sibTrans1D1" presStyleIdx="0" presStyleCnt="5"/>
      <dgm:spPr/>
      <dgm:t>
        <a:bodyPr/>
        <a:lstStyle/>
        <a:p>
          <a:endParaRPr lang="en-GB"/>
        </a:p>
      </dgm:t>
    </dgm:pt>
    <dgm:pt modelId="{1423C1A0-3A5E-4E63-977C-89D50133C385}" type="pres">
      <dgm:prSet presAssocID="{32B1A902-2A23-412A-BBF0-B69355B4524A}" presName="node" presStyleLbl="node1" presStyleIdx="1" presStyleCnt="6" custScaleX="81521" custScaleY="7922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594BDBF-AA0E-4C8C-A2B7-2CCFD37756E8}" type="pres">
      <dgm:prSet presAssocID="{E3ED32FE-D5A7-4D36-AE87-327709106AAD}" presName="sibTrans" presStyleLbl="sibTrans1D1" presStyleIdx="1" presStyleCnt="5"/>
      <dgm:spPr/>
      <dgm:t>
        <a:bodyPr/>
        <a:lstStyle/>
        <a:p>
          <a:endParaRPr lang="en-GB"/>
        </a:p>
      </dgm:t>
    </dgm:pt>
    <dgm:pt modelId="{BDE00335-7A24-44A6-89E4-4EA1F6D6A5C6}" type="pres">
      <dgm:prSet presAssocID="{E3ED32FE-D5A7-4D36-AE87-327709106AAD}" presName="connectorText" presStyleLbl="sibTrans1D1" presStyleIdx="1" presStyleCnt="5"/>
      <dgm:spPr/>
      <dgm:t>
        <a:bodyPr/>
        <a:lstStyle/>
        <a:p>
          <a:endParaRPr lang="en-GB"/>
        </a:p>
      </dgm:t>
    </dgm:pt>
    <dgm:pt modelId="{A2A2269B-5BAD-4303-9237-463C448CB971}" type="pres">
      <dgm:prSet presAssocID="{43ED775F-0416-4B4F-96D5-A83F54156367}" presName="node" presStyleLbl="node1" presStyleIdx="2" presStyleCnt="6" custScaleX="80270" custScaleY="8065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28A11CF7-6485-4752-8CFE-DC5D92EE79E1}" type="pres">
      <dgm:prSet presAssocID="{793D203A-B132-4356-8BA5-D4D83716C06B}" presName="sibTrans" presStyleLbl="sibTrans1D1" presStyleIdx="2" presStyleCnt="5"/>
      <dgm:spPr/>
      <dgm:t>
        <a:bodyPr/>
        <a:lstStyle/>
        <a:p>
          <a:endParaRPr lang="en-GB"/>
        </a:p>
      </dgm:t>
    </dgm:pt>
    <dgm:pt modelId="{05A10E2D-3DCB-4F35-920D-3D6F1C047F06}" type="pres">
      <dgm:prSet presAssocID="{793D203A-B132-4356-8BA5-D4D83716C06B}" presName="connectorText" presStyleLbl="sibTrans1D1" presStyleIdx="2" presStyleCnt="5"/>
      <dgm:spPr/>
      <dgm:t>
        <a:bodyPr/>
        <a:lstStyle/>
        <a:p>
          <a:endParaRPr lang="en-GB"/>
        </a:p>
      </dgm:t>
    </dgm:pt>
    <dgm:pt modelId="{435025EF-6DF7-4B20-88EA-2EEE5B881007}" type="pres">
      <dgm:prSet presAssocID="{4F5AA45A-41A7-4A15-BFCB-03520E28EBCE}" presName="node" presStyleLbl="node1" presStyleIdx="3" presStyleCnt="6" custScaleX="92981" custScaleY="7232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9A6BBC8-9532-4860-9930-953D1BD17D80}" type="pres">
      <dgm:prSet presAssocID="{1D045113-86B5-4F65-BD18-1F1984EED53E}" presName="sibTrans" presStyleLbl="sibTrans1D1" presStyleIdx="3" presStyleCnt="5"/>
      <dgm:spPr/>
      <dgm:t>
        <a:bodyPr/>
        <a:lstStyle/>
        <a:p>
          <a:endParaRPr lang="en-GB"/>
        </a:p>
      </dgm:t>
    </dgm:pt>
    <dgm:pt modelId="{1FAB86BE-F784-45BA-BCE0-5A7FB87F5462}" type="pres">
      <dgm:prSet presAssocID="{1D045113-86B5-4F65-BD18-1F1984EED53E}" presName="connectorText" presStyleLbl="sibTrans1D1" presStyleIdx="3" presStyleCnt="5"/>
      <dgm:spPr/>
      <dgm:t>
        <a:bodyPr/>
        <a:lstStyle/>
        <a:p>
          <a:endParaRPr lang="en-GB"/>
        </a:p>
      </dgm:t>
    </dgm:pt>
    <dgm:pt modelId="{63D76814-7963-4FA2-96F9-0DEFA15EAD78}" type="pres">
      <dgm:prSet presAssocID="{C364A23E-7E3B-4A08-BDB2-9C88A6A31BBB}" presName="node" presStyleLbl="node1" presStyleIdx="4" presStyleCnt="6" custScaleX="80127" custScaleY="65898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9187319-04FE-4DBC-9F17-85BA4BB843F6}" type="pres">
      <dgm:prSet presAssocID="{98761B01-0135-4DC9-B1E1-F36CD7A5E42C}" presName="sibTrans" presStyleLbl="sibTrans1D1" presStyleIdx="4" presStyleCnt="5"/>
      <dgm:spPr/>
      <dgm:t>
        <a:bodyPr/>
        <a:lstStyle/>
        <a:p>
          <a:endParaRPr lang="en-GB"/>
        </a:p>
      </dgm:t>
    </dgm:pt>
    <dgm:pt modelId="{30512EA9-0C20-46DB-85E3-73B4A44DE4AC}" type="pres">
      <dgm:prSet presAssocID="{98761B01-0135-4DC9-B1E1-F36CD7A5E42C}" presName="connectorText" presStyleLbl="sibTrans1D1" presStyleIdx="4" presStyleCnt="5"/>
      <dgm:spPr/>
      <dgm:t>
        <a:bodyPr/>
        <a:lstStyle/>
        <a:p>
          <a:endParaRPr lang="en-GB"/>
        </a:p>
      </dgm:t>
    </dgm:pt>
    <dgm:pt modelId="{C3B73125-645E-42FA-BAF4-E67ADF11E9A5}" type="pres">
      <dgm:prSet presAssocID="{6D0D447F-F351-4578-8621-6DA44A2C5BEA}" presName="node" presStyleLbl="node1" presStyleIdx="5" presStyleCnt="6" custScaleX="88050" custScaleY="68518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A2C5C95B-91AB-47D0-A422-0BE48498B69C}" type="presOf" srcId="{35AFA9B2-BCE0-4D79-A512-CCFD3335CA5D}" destId="{5599F298-B1FD-4ED7-91C2-ED0783306877}" srcOrd="0" destOrd="0" presId="urn:microsoft.com/office/officeart/2005/8/layout/bProcess3"/>
    <dgm:cxn modelId="{B5060BEF-C146-4485-81AE-17CF4F4B9BEA}" srcId="{464C7724-AB33-4F79-8CAC-ED1761BDC6AB}" destId="{43ED775F-0416-4B4F-96D5-A83F54156367}" srcOrd="2" destOrd="0" parTransId="{664931F2-612B-47B9-BE8B-1D6C3672416A}" sibTransId="{793D203A-B132-4356-8BA5-D4D83716C06B}"/>
    <dgm:cxn modelId="{332F3CE4-35D8-4B29-B1F3-DD98AFA607D0}" srcId="{464C7724-AB33-4F79-8CAC-ED1761BDC6AB}" destId="{35AFA9B2-BCE0-4D79-A512-CCFD3335CA5D}" srcOrd="0" destOrd="0" parTransId="{E10E12C4-4D91-4033-B62D-7BBC99F35BE4}" sibTransId="{7EEBE07B-87B9-411F-9D0D-0FFAA5E91B88}"/>
    <dgm:cxn modelId="{087B6646-BC1A-4E62-A495-51CA38B9426F}" type="presOf" srcId="{43ED775F-0416-4B4F-96D5-A83F54156367}" destId="{A2A2269B-5BAD-4303-9237-463C448CB971}" srcOrd="0" destOrd="0" presId="urn:microsoft.com/office/officeart/2005/8/layout/bProcess3"/>
    <dgm:cxn modelId="{3E653C57-05B6-4E76-9218-46CDAE6CBA5C}" type="presOf" srcId="{E3ED32FE-D5A7-4D36-AE87-327709106AAD}" destId="{A594BDBF-AA0E-4C8C-A2B7-2CCFD37756E8}" srcOrd="0" destOrd="0" presId="urn:microsoft.com/office/officeart/2005/8/layout/bProcess3"/>
    <dgm:cxn modelId="{B95C2C99-6874-4BA8-B657-5ED06D498B8C}" type="presOf" srcId="{32B1A902-2A23-412A-BBF0-B69355B4524A}" destId="{1423C1A0-3A5E-4E63-977C-89D50133C385}" srcOrd="0" destOrd="0" presId="urn:microsoft.com/office/officeart/2005/8/layout/bProcess3"/>
    <dgm:cxn modelId="{CB833629-139D-4120-B7DE-105C4C7D433A}" srcId="{464C7724-AB33-4F79-8CAC-ED1761BDC6AB}" destId="{6D0D447F-F351-4578-8621-6DA44A2C5BEA}" srcOrd="5" destOrd="0" parTransId="{3A983C26-AC4D-4132-96E4-4BB7DFE6D73E}" sibTransId="{5451BE4F-0D31-41F6-B0FE-14F6EF4C4FC4}"/>
    <dgm:cxn modelId="{0A17905F-9771-4C79-8D82-AEE4FBDC32CD}" srcId="{464C7724-AB33-4F79-8CAC-ED1761BDC6AB}" destId="{4F5AA45A-41A7-4A15-BFCB-03520E28EBCE}" srcOrd="3" destOrd="0" parTransId="{5203B3C7-623A-40F3-8545-1324C84B32ED}" sibTransId="{1D045113-86B5-4F65-BD18-1F1984EED53E}"/>
    <dgm:cxn modelId="{CFC49DC5-2095-4D4B-8DEE-38341808ED5F}" type="presOf" srcId="{7EEBE07B-87B9-411F-9D0D-0FFAA5E91B88}" destId="{177FB113-5BA7-4ADB-B58A-25411C8D6025}" srcOrd="0" destOrd="0" presId="urn:microsoft.com/office/officeart/2005/8/layout/bProcess3"/>
    <dgm:cxn modelId="{38FEF302-A92E-406D-9C4A-46B0BC482520}" type="presOf" srcId="{6D0D447F-F351-4578-8621-6DA44A2C5BEA}" destId="{C3B73125-645E-42FA-BAF4-E67ADF11E9A5}" srcOrd="0" destOrd="0" presId="urn:microsoft.com/office/officeart/2005/8/layout/bProcess3"/>
    <dgm:cxn modelId="{D5C1D13D-CA30-42D3-AE5F-B21662A800E4}" type="presOf" srcId="{793D203A-B132-4356-8BA5-D4D83716C06B}" destId="{28A11CF7-6485-4752-8CFE-DC5D92EE79E1}" srcOrd="0" destOrd="0" presId="urn:microsoft.com/office/officeart/2005/8/layout/bProcess3"/>
    <dgm:cxn modelId="{67F18CC9-62C3-42FE-B40D-3A4E3B007DB9}" type="presOf" srcId="{C364A23E-7E3B-4A08-BDB2-9C88A6A31BBB}" destId="{63D76814-7963-4FA2-96F9-0DEFA15EAD78}" srcOrd="0" destOrd="0" presId="urn:microsoft.com/office/officeart/2005/8/layout/bProcess3"/>
    <dgm:cxn modelId="{6CD21CA5-BC52-4AA3-ADD1-8E7CD8944DA3}" type="presOf" srcId="{464C7724-AB33-4F79-8CAC-ED1761BDC6AB}" destId="{ADDC01C9-E3A3-4D22-AC21-0E8A7C22843E}" srcOrd="0" destOrd="0" presId="urn:microsoft.com/office/officeart/2005/8/layout/bProcess3"/>
    <dgm:cxn modelId="{7EFDB8B6-91E7-4EB2-A808-3F5C7572D41D}" type="presOf" srcId="{4F5AA45A-41A7-4A15-BFCB-03520E28EBCE}" destId="{435025EF-6DF7-4B20-88EA-2EEE5B881007}" srcOrd="0" destOrd="0" presId="urn:microsoft.com/office/officeart/2005/8/layout/bProcess3"/>
    <dgm:cxn modelId="{23863EBB-BDA2-4267-A32A-B197EF99A7EC}" srcId="{464C7724-AB33-4F79-8CAC-ED1761BDC6AB}" destId="{C364A23E-7E3B-4A08-BDB2-9C88A6A31BBB}" srcOrd="4" destOrd="0" parTransId="{A201BCF4-7902-4BD0-B9B8-526485460316}" sibTransId="{98761B01-0135-4DC9-B1E1-F36CD7A5E42C}"/>
    <dgm:cxn modelId="{AD37761F-7E1A-4F38-8DEA-80994E3971CE}" type="presOf" srcId="{1D045113-86B5-4F65-BD18-1F1984EED53E}" destId="{69A6BBC8-9532-4860-9930-953D1BD17D80}" srcOrd="0" destOrd="0" presId="urn:microsoft.com/office/officeart/2005/8/layout/bProcess3"/>
    <dgm:cxn modelId="{6A2A43B2-AF9B-4766-9E3D-3B3018FBE387}" type="presOf" srcId="{E3ED32FE-D5A7-4D36-AE87-327709106AAD}" destId="{BDE00335-7A24-44A6-89E4-4EA1F6D6A5C6}" srcOrd="1" destOrd="0" presId="urn:microsoft.com/office/officeart/2005/8/layout/bProcess3"/>
    <dgm:cxn modelId="{B965ED94-4E99-4B6A-A878-28775C20DCD5}" type="presOf" srcId="{98761B01-0135-4DC9-B1E1-F36CD7A5E42C}" destId="{69187319-04FE-4DBC-9F17-85BA4BB843F6}" srcOrd="0" destOrd="0" presId="urn:microsoft.com/office/officeart/2005/8/layout/bProcess3"/>
    <dgm:cxn modelId="{F87C5C92-896B-4F90-9561-46635706DAF6}" type="presOf" srcId="{793D203A-B132-4356-8BA5-D4D83716C06B}" destId="{05A10E2D-3DCB-4F35-920D-3D6F1C047F06}" srcOrd="1" destOrd="0" presId="urn:microsoft.com/office/officeart/2005/8/layout/bProcess3"/>
    <dgm:cxn modelId="{97E1AF13-3DB2-4007-B869-9FD7AACE47E2}" srcId="{464C7724-AB33-4F79-8CAC-ED1761BDC6AB}" destId="{32B1A902-2A23-412A-BBF0-B69355B4524A}" srcOrd="1" destOrd="0" parTransId="{1E031237-624C-449F-8551-C71FB43A096E}" sibTransId="{E3ED32FE-D5A7-4D36-AE87-327709106AAD}"/>
    <dgm:cxn modelId="{CE5DCFCD-F5BC-44A7-BDFF-908123EEB322}" type="presOf" srcId="{98761B01-0135-4DC9-B1E1-F36CD7A5E42C}" destId="{30512EA9-0C20-46DB-85E3-73B4A44DE4AC}" srcOrd="1" destOrd="0" presId="urn:microsoft.com/office/officeart/2005/8/layout/bProcess3"/>
    <dgm:cxn modelId="{895119A2-7E64-4EC6-8DC9-59F129A3A535}" type="presOf" srcId="{7EEBE07B-87B9-411F-9D0D-0FFAA5E91B88}" destId="{89E3076A-7FE0-4745-86B5-76202CAA8851}" srcOrd="1" destOrd="0" presId="urn:microsoft.com/office/officeart/2005/8/layout/bProcess3"/>
    <dgm:cxn modelId="{BF3776F3-45F0-417D-8D6D-B570B5CD4CCF}" type="presOf" srcId="{1D045113-86B5-4F65-BD18-1F1984EED53E}" destId="{1FAB86BE-F784-45BA-BCE0-5A7FB87F5462}" srcOrd="1" destOrd="0" presId="urn:microsoft.com/office/officeart/2005/8/layout/bProcess3"/>
    <dgm:cxn modelId="{3B1D9AAA-2F9C-4DDA-865B-A8D4D5786CB9}" type="presParOf" srcId="{ADDC01C9-E3A3-4D22-AC21-0E8A7C22843E}" destId="{5599F298-B1FD-4ED7-91C2-ED0783306877}" srcOrd="0" destOrd="0" presId="urn:microsoft.com/office/officeart/2005/8/layout/bProcess3"/>
    <dgm:cxn modelId="{38638797-C8DF-4693-A6EB-6B07AB74CF3A}" type="presParOf" srcId="{ADDC01C9-E3A3-4D22-AC21-0E8A7C22843E}" destId="{177FB113-5BA7-4ADB-B58A-25411C8D6025}" srcOrd="1" destOrd="0" presId="urn:microsoft.com/office/officeart/2005/8/layout/bProcess3"/>
    <dgm:cxn modelId="{E90B2AAF-ECA5-4D9B-A6FA-6920213E7EFD}" type="presParOf" srcId="{177FB113-5BA7-4ADB-B58A-25411C8D6025}" destId="{89E3076A-7FE0-4745-86B5-76202CAA8851}" srcOrd="0" destOrd="0" presId="urn:microsoft.com/office/officeart/2005/8/layout/bProcess3"/>
    <dgm:cxn modelId="{1454976B-D0A0-482B-A5C2-F59FE595BAE4}" type="presParOf" srcId="{ADDC01C9-E3A3-4D22-AC21-0E8A7C22843E}" destId="{1423C1A0-3A5E-4E63-977C-89D50133C385}" srcOrd="2" destOrd="0" presId="urn:microsoft.com/office/officeart/2005/8/layout/bProcess3"/>
    <dgm:cxn modelId="{6BC09822-EF78-4AD1-B7BB-04AC8D2AD0F3}" type="presParOf" srcId="{ADDC01C9-E3A3-4D22-AC21-0E8A7C22843E}" destId="{A594BDBF-AA0E-4C8C-A2B7-2CCFD37756E8}" srcOrd="3" destOrd="0" presId="urn:microsoft.com/office/officeart/2005/8/layout/bProcess3"/>
    <dgm:cxn modelId="{3C5FC955-848D-4398-9A3E-4723756C0569}" type="presParOf" srcId="{A594BDBF-AA0E-4C8C-A2B7-2CCFD37756E8}" destId="{BDE00335-7A24-44A6-89E4-4EA1F6D6A5C6}" srcOrd="0" destOrd="0" presId="urn:microsoft.com/office/officeart/2005/8/layout/bProcess3"/>
    <dgm:cxn modelId="{B5E46B3D-BBCA-4675-B3F4-9BC7B20C0DD6}" type="presParOf" srcId="{ADDC01C9-E3A3-4D22-AC21-0E8A7C22843E}" destId="{A2A2269B-5BAD-4303-9237-463C448CB971}" srcOrd="4" destOrd="0" presId="urn:microsoft.com/office/officeart/2005/8/layout/bProcess3"/>
    <dgm:cxn modelId="{66701EF8-1491-47F9-B52B-C087706FE41C}" type="presParOf" srcId="{ADDC01C9-E3A3-4D22-AC21-0E8A7C22843E}" destId="{28A11CF7-6485-4752-8CFE-DC5D92EE79E1}" srcOrd="5" destOrd="0" presId="urn:microsoft.com/office/officeart/2005/8/layout/bProcess3"/>
    <dgm:cxn modelId="{DBD8FB34-E35F-4CD9-8D84-B182BE5B7307}" type="presParOf" srcId="{28A11CF7-6485-4752-8CFE-DC5D92EE79E1}" destId="{05A10E2D-3DCB-4F35-920D-3D6F1C047F06}" srcOrd="0" destOrd="0" presId="urn:microsoft.com/office/officeart/2005/8/layout/bProcess3"/>
    <dgm:cxn modelId="{95E1BE6E-E47C-4A92-B74E-B4A76E606378}" type="presParOf" srcId="{ADDC01C9-E3A3-4D22-AC21-0E8A7C22843E}" destId="{435025EF-6DF7-4B20-88EA-2EEE5B881007}" srcOrd="6" destOrd="0" presId="urn:microsoft.com/office/officeart/2005/8/layout/bProcess3"/>
    <dgm:cxn modelId="{1FAA5CDB-CAD6-43D4-90DC-06F228C4237B}" type="presParOf" srcId="{ADDC01C9-E3A3-4D22-AC21-0E8A7C22843E}" destId="{69A6BBC8-9532-4860-9930-953D1BD17D80}" srcOrd="7" destOrd="0" presId="urn:microsoft.com/office/officeart/2005/8/layout/bProcess3"/>
    <dgm:cxn modelId="{D6547D72-01DC-4410-B5BE-BDA020F9B4D6}" type="presParOf" srcId="{69A6BBC8-9532-4860-9930-953D1BD17D80}" destId="{1FAB86BE-F784-45BA-BCE0-5A7FB87F5462}" srcOrd="0" destOrd="0" presId="urn:microsoft.com/office/officeart/2005/8/layout/bProcess3"/>
    <dgm:cxn modelId="{A715C1F1-6CD4-45A3-AB92-07EC92F3CBFD}" type="presParOf" srcId="{ADDC01C9-E3A3-4D22-AC21-0E8A7C22843E}" destId="{63D76814-7963-4FA2-96F9-0DEFA15EAD78}" srcOrd="8" destOrd="0" presId="urn:microsoft.com/office/officeart/2005/8/layout/bProcess3"/>
    <dgm:cxn modelId="{43556BC2-CDC1-4EAF-A280-9F72AB3E102D}" type="presParOf" srcId="{ADDC01C9-E3A3-4D22-AC21-0E8A7C22843E}" destId="{69187319-04FE-4DBC-9F17-85BA4BB843F6}" srcOrd="9" destOrd="0" presId="urn:microsoft.com/office/officeart/2005/8/layout/bProcess3"/>
    <dgm:cxn modelId="{449EA30A-EF97-4E62-8A9A-970F1189F5BB}" type="presParOf" srcId="{69187319-04FE-4DBC-9F17-85BA4BB843F6}" destId="{30512EA9-0C20-46DB-85E3-73B4A44DE4AC}" srcOrd="0" destOrd="0" presId="urn:microsoft.com/office/officeart/2005/8/layout/bProcess3"/>
    <dgm:cxn modelId="{BA351FE7-5883-4E48-86E0-3F6E2ACD4974}" type="presParOf" srcId="{ADDC01C9-E3A3-4D22-AC21-0E8A7C22843E}" destId="{C3B73125-645E-42FA-BAF4-E67ADF11E9A5}" srcOrd="10" destOrd="0" presId="urn:microsoft.com/office/officeart/2005/8/layout/b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17DF4AC-A1F4-4A2A-BE68-FC680D3EFB3E}" type="doc">
      <dgm:prSet loTypeId="urn:microsoft.com/office/officeart/2005/8/layout/venn2" loCatId="relationship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GB"/>
        </a:p>
      </dgm:t>
    </dgm:pt>
    <dgm:pt modelId="{9D7032AA-AAC0-454C-945C-6B8872869A3F}">
      <dgm:prSet phldrT="[Text]" custT="1"/>
      <dgm:spPr>
        <a:solidFill>
          <a:srgbClr val="00B0F0"/>
        </a:solidFill>
      </dgm:spPr>
      <dgm:t>
        <a:bodyPr/>
        <a:lstStyle/>
        <a:p>
          <a:r>
            <a:rPr lang="en-GB" sz="1200" dirty="0" smtClean="0"/>
            <a:t>Investigate </a:t>
          </a:r>
          <a:endParaRPr lang="en-GB" sz="1200" dirty="0"/>
        </a:p>
      </dgm:t>
    </dgm:pt>
    <dgm:pt modelId="{DF4ED3A5-6328-48BE-961C-DAEBB83016C6}" type="parTrans" cxnId="{97A5D641-3F4E-4477-9509-A97EA05AD8FF}">
      <dgm:prSet/>
      <dgm:spPr/>
      <dgm:t>
        <a:bodyPr/>
        <a:lstStyle/>
        <a:p>
          <a:endParaRPr lang="en-GB"/>
        </a:p>
      </dgm:t>
    </dgm:pt>
    <dgm:pt modelId="{85E25CAD-F50D-4271-88E4-0A0EE0C1AEA7}" type="sibTrans" cxnId="{97A5D641-3F4E-4477-9509-A97EA05AD8FF}">
      <dgm:prSet/>
      <dgm:spPr/>
      <dgm:t>
        <a:bodyPr/>
        <a:lstStyle/>
        <a:p>
          <a:endParaRPr lang="en-GB"/>
        </a:p>
      </dgm:t>
    </dgm:pt>
    <dgm:pt modelId="{7D40692F-C0B6-4031-8BB6-4F891550A0D7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GB" sz="900" dirty="0" smtClean="0"/>
            <a:t>For Quality Complaint-Laboratory test must be done</a:t>
          </a:r>
        </a:p>
        <a:p>
          <a:r>
            <a:rPr lang="en-GB" sz="900" dirty="0" smtClean="0"/>
            <a:t>Sample must be </a:t>
          </a:r>
          <a:r>
            <a:rPr lang="en-GB" sz="1200" dirty="0" smtClean="0"/>
            <a:t>collected  </a:t>
          </a:r>
          <a:endParaRPr lang="en-GB" sz="1200" dirty="0"/>
        </a:p>
      </dgm:t>
    </dgm:pt>
    <dgm:pt modelId="{5A076A5F-831C-4222-86D8-16C35373F8A0}" type="parTrans" cxnId="{05E9DBDF-81CB-4E7E-9941-9062B7BED999}">
      <dgm:prSet/>
      <dgm:spPr/>
      <dgm:t>
        <a:bodyPr/>
        <a:lstStyle/>
        <a:p>
          <a:endParaRPr lang="en-GB"/>
        </a:p>
      </dgm:t>
    </dgm:pt>
    <dgm:pt modelId="{CE1EEADA-FED5-491A-9E13-C702E23600CF}" type="sibTrans" cxnId="{05E9DBDF-81CB-4E7E-9941-9062B7BED999}">
      <dgm:prSet/>
      <dgm:spPr/>
      <dgm:t>
        <a:bodyPr/>
        <a:lstStyle/>
        <a:p>
          <a:endParaRPr lang="en-GB"/>
        </a:p>
      </dgm:t>
    </dgm:pt>
    <dgm:pt modelId="{7E9BDBDA-A16A-42D2-ABF2-244172E5EE5D}">
      <dgm:prSet phldrT="[Text]" custT="1"/>
      <dgm:spPr>
        <a:solidFill>
          <a:srgbClr val="00B050"/>
        </a:solidFill>
      </dgm:spPr>
      <dgm:t>
        <a:bodyPr/>
        <a:lstStyle/>
        <a:p>
          <a:r>
            <a:rPr lang="en-GB" sz="1000" dirty="0" smtClean="0"/>
            <a:t>Identify root cause of the complaints</a:t>
          </a:r>
          <a:endParaRPr lang="en-GB" sz="1000" dirty="0"/>
        </a:p>
      </dgm:t>
    </dgm:pt>
    <dgm:pt modelId="{191E7802-F46F-4496-8576-32ED72FAE97B}" type="parTrans" cxnId="{711403E6-B62E-4FDE-9D08-17B3D9C92653}">
      <dgm:prSet/>
      <dgm:spPr/>
      <dgm:t>
        <a:bodyPr/>
        <a:lstStyle/>
        <a:p>
          <a:endParaRPr lang="en-GB"/>
        </a:p>
      </dgm:t>
    </dgm:pt>
    <dgm:pt modelId="{6B3FA807-9FDE-4125-B266-36008EFC5632}" type="sibTrans" cxnId="{711403E6-B62E-4FDE-9D08-17B3D9C92653}">
      <dgm:prSet/>
      <dgm:spPr/>
      <dgm:t>
        <a:bodyPr/>
        <a:lstStyle/>
        <a:p>
          <a:endParaRPr lang="en-GB"/>
        </a:p>
      </dgm:t>
    </dgm:pt>
    <dgm:pt modelId="{8F3310B5-6C7C-4D63-B6E9-B1D6D712FAA4}">
      <dgm:prSet phldrT="[Text]" custT="1"/>
      <dgm:spPr>
        <a:solidFill>
          <a:srgbClr val="FFC000"/>
        </a:solidFill>
      </dgm:spPr>
      <dgm:t>
        <a:bodyPr/>
        <a:lstStyle/>
        <a:p>
          <a:r>
            <a:rPr lang="en-GB" sz="1000" dirty="0" smtClean="0"/>
            <a:t>Financial  impact</a:t>
          </a:r>
          <a:r>
            <a:rPr lang="en-GB" sz="700" dirty="0" smtClean="0"/>
            <a:t> </a:t>
          </a:r>
          <a:endParaRPr lang="en-GB" sz="700" dirty="0"/>
        </a:p>
      </dgm:t>
    </dgm:pt>
    <dgm:pt modelId="{7F646A99-614C-4B26-90B2-B954BB87D3A2}" type="parTrans" cxnId="{7ABBAB72-F4EC-4A2D-9DE5-1095253E81A2}">
      <dgm:prSet/>
      <dgm:spPr/>
      <dgm:t>
        <a:bodyPr/>
        <a:lstStyle/>
        <a:p>
          <a:endParaRPr lang="en-GB"/>
        </a:p>
      </dgm:t>
    </dgm:pt>
    <dgm:pt modelId="{323CD035-7AE3-43E6-8E68-A4BA61ED0019}" type="sibTrans" cxnId="{7ABBAB72-F4EC-4A2D-9DE5-1095253E81A2}">
      <dgm:prSet/>
      <dgm:spPr/>
      <dgm:t>
        <a:bodyPr/>
        <a:lstStyle/>
        <a:p>
          <a:endParaRPr lang="en-GB"/>
        </a:p>
      </dgm:t>
    </dgm:pt>
    <dgm:pt modelId="{1A90692C-04FD-4207-A566-278B9BC29CE6}">
      <dgm:prSet phldrT="[Text]" custT="1"/>
      <dgm:spPr>
        <a:solidFill>
          <a:srgbClr val="FF0000"/>
        </a:solidFill>
      </dgm:spPr>
      <dgm:t>
        <a:bodyPr/>
        <a:lstStyle/>
        <a:p>
          <a:r>
            <a:rPr lang="en-GB" sz="900" dirty="0" smtClean="0"/>
            <a:t>Close</a:t>
          </a:r>
          <a:r>
            <a:rPr lang="en-GB" sz="900" baseline="0" dirty="0" smtClean="0"/>
            <a:t> complaint</a:t>
          </a:r>
        </a:p>
        <a:p>
          <a:r>
            <a:rPr lang="en-GB" sz="900" dirty="0" smtClean="0"/>
            <a:t>providing the solution to the complaint</a:t>
          </a:r>
          <a:r>
            <a:rPr lang="en-GB" sz="900" baseline="0" dirty="0" smtClean="0"/>
            <a:t> </a:t>
          </a:r>
          <a:endParaRPr lang="en-GB" sz="900" dirty="0"/>
        </a:p>
      </dgm:t>
    </dgm:pt>
    <dgm:pt modelId="{0C437A96-EAD1-47AD-AB6C-CD51735573CA}" type="parTrans" cxnId="{3419AA5A-ED3B-4FED-8116-C0216904B09F}">
      <dgm:prSet/>
      <dgm:spPr/>
      <dgm:t>
        <a:bodyPr/>
        <a:lstStyle/>
        <a:p>
          <a:endParaRPr lang="en-GB"/>
        </a:p>
      </dgm:t>
    </dgm:pt>
    <dgm:pt modelId="{EF6CCF21-C10E-4C04-BF72-9AAB9BF6642D}" type="sibTrans" cxnId="{3419AA5A-ED3B-4FED-8116-C0216904B09F}">
      <dgm:prSet/>
      <dgm:spPr/>
      <dgm:t>
        <a:bodyPr/>
        <a:lstStyle/>
        <a:p>
          <a:endParaRPr lang="en-GB"/>
        </a:p>
      </dgm:t>
    </dgm:pt>
    <dgm:pt modelId="{A061F07F-0169-4F01-BA22-1AABABEDCA3C}">
      <dgm:prSet phldrT="[Text]" custT="1"/>
      <dgm:spPr>
        <a:solidFill>
          <a:srgbClr val="0070C0"/>
        </a:solidFill>
      </dgm:spPr>
      <dgm:t>
        <a:bodyPr/>
        <a:lstStyle/>
        <a:p>
          <a:r>
            <a:rPr lang="en-GB" sz="1000" dirty="0" smtClean="0"/>
            <a:t>Communicate back </a:t>
          </a:r>
        </a:p>
        <a:p>
          <a:r>
            <a:rPr lang="en-GB" sz="1000" dirty="0" smtClean="0">
              <a:solidFill>
                <a:schemeClr val="tx1">
                  <a:lumMod val="95000"/>
                  <a:lumOff val="5000"/>
                </a:schemeClr>
              </a:solidFill>
            </a:rPr>
            <a:t>In charge of the customers</a:t>
          </a:r>
          <a:endParaRPr lang="en-GB" sz="1000" dirty="0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0CE12F2B-0F05-44E5-9595-E8C98A2D9424}" type="parTrans" cxnId="{DF40BA63-C7CC-4119-B2CE-C4FA95F4213B}">
      <dgm:prSet/>
      <dgm:spPr/>
      <dgm:t>
        <a:bodyPr/>
        <a:lstStyle/>
        <a:p>
          <a:endParaRPr lang="en-GB"/>
        </a:p>
      </dgm:t>
    </dgm:pt>
    <dgm:pt modelId="{5EDBD395-A4BE-4668-B099-F7180E1BC63B}" type="sibTrans" cxnId="{DF40BA63-C7CC-4119-B2CE-C4FA95F4213B}">
      <dgm:prSet/>
      <dgm:spPr/>
      <dgm:t>
        <a:bodyPr/>
        <a:lstStyle/>
        <a:p>
          <a:endParaRPr lang="en-GB"/>
        </a:p>
      </dgm:t>
    </dgm:pt>
    <dgm:pt modelId="{BC015109-93B8-4253-89F6-5178B399C9FB}" type="pres">
      <dgm:prSet presAssocID="{117DF4AC-A1F4-4A2A-BE68-FC680D3EFB3E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4DA024C5-6065-4EFF-82F4-8D1E61F9F5DD}" type="pres">
      <dgm:prSet presAssocID="{117DF4AC-A1F4-4A2A-BE68-FC680D3EFB3E}" presName="comp1" presStyleCnt="0"/>
      <dgm:spPr/>
    </dgm:pt>
    <dgm:pt modelId="{F45E859E-E9BF-4437-8FDD-AFCED6474148}" type="pres">
      <dgm:prSet presAssocID="{117DF4AC-A1F4-4A2A-BE68-FC680D3EFB3E}" presName="circle1" presStyleLbl="node1" presStyleIdx="0" presStyleCnt="6"/>
      <dgm:spPr/>
      <dgm:t>
        <a:bodyPr/>
        <a:lstStyle/>
        <a:p>
          <a:endParaRPr lang="en-GB"/>
        </a:p>
      </dgm:t>
    </dgm:pt>
    <dgm:pt modelId="{B4BA4EEE-E8DF-4AF2-A917-FE1B9E363C69}" type="pres">
      <dgm:prSet presAssocID="{117DF4AC-A1F4-4A2A-BE68-FC680D3EFB3E}" presName="c1text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F96D772-03AD-428F-983B-B71E3109CDCB}" type="pres">
      <dgm:prSet presAssocID="{117DF4AC-A1F4-4A2A-BE68-FC680D3EFB3E}" presName="comp2" presStyleCnt="0"/>
      <dgm:spPr/>
    </dgm:pt>
    <dgm:pt modelId="{F9EFA782-9A91-4597-8F2C-E80E42B71CA5}" type="pres">
      <dgm:prSet presAssocID="{117DF4AC-A1F4-4A2A-BE68-FC680D3EFB3E}" presName="circle2" presStyleLbl="node1" presStyleIdx="1" presStyleCnt="6" custScaleX="109749"/>
      <dgm:spPr/>
      <dgm:t>
        <a:bodyPr/>
        <a:lstStyle/>
        <a:p>
          <a:endParaRPr lang="en-GB"/>
        </a:p>
      </dgm:t>
    </dgm:pt>
    <dgm:pt modelId="{3E056796-BDD8-470D-8A04-47C782CE3699}" type="pres">
      <dgm:prSet presAssocID="{117DF4AC-A1F4-4A2A-BE68-FC680D3EFB3E}" presName="c2text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7E3ACD9-8E4A-49F8-8368-E0E0BF10E11B}" type="pres">
      <dgm:prSet presAssocID="{117DF4AC-A1F4-4A2A-BE68-FC680D3EFB3E}" presName="comp3" presStyleCnt="0"/>
      <dgm:spPr/>
    </dgm:pt>
    <dgm:pt modelId="{7CB54BE6-9271-487C-9400-E74F748B5D62}" type="pres">
      <dgm:prSet presAssocID="{117DF4AC-A1F4-4A2A-BE68-FC680D3EFB3E}" presName="circle3" presStyleLbl="node1" presStyleIdx="2" presStyleCnt="6" custLinFactNeighborX="868"/>
      <dgm:spPr/>
      <dgm:t>
        <a:bodyPr/>
        <a:lstStyle/>
        <a:p>
          <a:endParaRPr lang="en-GB"/>
        </a:p>
      </dgm:t>
    </dgm:pt>
    <dgm:pt modelId="{B4943AEA-CCCF-4389-A345-514E88A8DDC6}" type="pres">
      <dgm:prSet presAssocID="{117DF4AC-A1F4-4A2A-BE68-FC680D3EFB3E}" presName="c3text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4DC8669-1419-47A1-8418-AAAC629F2AAA}" type="pres">
      <dgm:prSet presAssocID="{117DF4AC-A1F4-4A2A-BE68-FC680D3EFB3E}" presName="comp4" presStyleCnt="0"/>
      <dgm:spPr/>
    </dgm:pt>
    <dgm:pt modelId="{C4EA5359-9BA5-4C1B-A540-864561C5CC9F}" type="pres">
      <dgm:prSet presAssocID="{117DF4AC-A1F4-4A2A-BE68-FC680D3EFB3E}" presName="circle4" presStyleLbl="node1" presStyleIdx="3" presStyleCnt="6"/>
      <dgm:spPr/>
      <dgm:t>
        <a:bodyPr/>
        <a:lstStyle/>
        <a:p>
          <a:endParaRPr lang="en-GB"/>
        </a:p>
      </dgm:t>
    </dgm:pt>
    <dgm:pt modelId="{91DC241D-DCBE-4E50-BED2-136DA9877E3C}" type="pres">
      <dgm:prSet presAssocID="{117DF4AC-A1F4-4A2A-BE68-FC680D3EFB3E}" presName="c4text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2FF0D8DA-A267-4662-A250-6A866A777736}" type="pres">
      <dgm:prSet presAssocID="{117DF4AC-A1F4-4A2A-BE68-FC680D3EFB3E}" presName="comp5" presStyleCnt="0"/>
      <dgm:spPr/>
    </dgm:pt>
    <dgm:pt modelId="{569D23E5-A305-49E4-B173-DFB064024BBD}" type="pres">
      <dgm:prSet presAssocID="{117DF4AC-A1F4-4A2A-BE68-FC680D3EFB3E}" presName="circle5" presStyleLbl="node1" presStyleIdx="4" presStyleCnt="6"/>
      <dgm:spPr/>
      <dgm:t>
        <a:bodyPr/>
        <a:lstStyle/>
        <a:p>
          <a:endParaRPr lang="en-GB"/>
        </a:p>
      </dgm:t>
    </dgm:pt>
    <dgm:pt modelId="{79343329-7DAB-4946-9365-B131657DFA30}" type="pres">
      <dgm:prSet presAssocID="{117DF4AC-A1F4-4A2A-BE68-FC680D3EFB3E}" presName="c5text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EE0F675E-5120-415E-90C6-52E970F2856C}" type="pres">
      <dgm:prSet presAssocID="{117DF4AC-A1F4-4A2A-BE68-FC680D3EFB3E}" presName="comp6" presStyleCnt="0"/>
      <dgm:spPr/>
    </dgm:pt>
    <dgm:pt modelId="{6927866A-7D31-4A81-9899-5D30C3020362}" type="pres">
      <dgm:prSet presAssocID="{117DF4AC-A1F4-4A2A-BE68-FC680D3EFB3E}" presName="circle6" presStyleLbl="node1" presStyleIdx="5" presStyleCnt="6"/>
      <dgm:spPr/>
      <dgm:t>
        <a:bodyPr/>
        <a:lstStyle/>
        <a:p>
          <a:endParaRPr lang="en-GB"/>
        </a:p>
      </dgm:t>
    </dgm:pt>
    <dgm:pt modelId="{9128AE13-24EF-4423-A7D8-3358A2436B97}" type="pres">
      <dgm:prSet presAssocID="{117DF4AC-A1F4-4A2A-BE68-FC680D3EFB3E}" presName="c6text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711403E6-B62E-4FDE-9D08-17B3D9C92653}" srcId="{117DF4AC-A1F4-4A2A-BE68-FC680D3EFB3E}" destId="{7E9BDBDA-A16A-42D2-ABF2-244172E5EE5D}" srcOrd="2" destOrd="0" parTransId="{191E7802-F46F-4496-8576-32ED72FAE97B}" sibTransId="{6B3FA807-9FDE-4125-B266-36008EFC5632}"/>
    <dgm:cxn modelId="{DF40BA63-C7CC-4119-B2CE-C4FA95F4213B}" srcId="{117DF4AC-A1F4-4A2A-BE68-FC680D3EFB3E}" destId="{A061F07F-0169-4F01-BA22-1AABABEDCA3C}" srcOrd="5" destOrd="0" parTransId="{0CE12F2B-0F05-44E5-9595-E8C98A2D9424}" sibTransId="{5EDBD395-A4BE-4668-B099-F7180E1BC63B}"/>
    <dgm:cxn modelId="{11D7B4F7-3056-4D98-85FA-D0CBAE49E43E}" type="presOf" srcId="{8F3310B5-6C7C-4D63-B6E9-B1D6D712FAA4}" destId="{C4EA5359-9BA5-4C1B-A540-864561C5CC9F}" srcOrd="0" destOrd="0" presId="urn:microsoft.com/office/officeart/2005/8/layout/venn2"/>
    <dgm:cxn modelId="{822A8777-B3FD-4E37-9E9A-25CE810A7FA0}" type="presOf" srcId="{A061F07F-0169-4F01-BA22-1AABABEDCA3C}" destId="{6927866A-7D31-4A81-9899-5D30C3020362}" srcOrd="0" destOrd="0" presId="urn:microsoft.com/office/officeart/2005/8/layout/venn2"/>
    <dgm:cxn modelId="{2EA5A2D6-7211-439B-AFDC-A0033BB24210}" type="presOf" srcId="{9D7032AA-AAC0-454C-945C-6B8872869A3F}" destId="{F45E859E-E9BF-4437-8FDD-AFCED6474148}" srcOrd="0" destOrd="0" presId="urn:microsoft.com/office/officeart/2005/8/layout/venn2"/>
    <dgm:cxn modelId="{89C13F4F-7671-44BB-A6F2-D6246E604005}" type="presOf" srcId="{117DF4AC-A1F4-4A2A-BE68-FC680D3EFB3E}" destId="{BC015109-93B8-4253-89F6-5178B399C9FB}" srcOrd="0" destOrd="0" presId="urn:microsoft.com/office/officeart/2005/8/layout/venn2"/>
    <dgm:cxn modelId="{C73E10E7-3479-4D66-81D6-DD5784D625DE}" type="presOf" srcId="{7E9BDBDA-A16A-42D2-ABF2-244172E5EE5D}" destId="{B4943AEA-CCCF-4389-A345-514E88A8DDC6}" srcOrd="1" destOrd="0" presId="urn:microsoft.com/office/officeart/2005/8/layout/venn2"/>
    <dgm:cxn modelId="{A2658666-DFC7-4FA7-88C5-6A1F12B52540}" type="presOf" srcId="{7D40692F-C0B6-4031-8BB6-4F891550A0D7}" destId="{F9EFA782-9A91-4597-8F2C-E80E42B71CA5}" srcOrd="0" destOrd="0" presId="urn:microsoft.com/office/officeart/2005/8/layout/venn2"/>
    <dgm:cxn modelId="{7ABBAB72-F4EC-4A2D-9DE5-1095253E81A2}" srcId="{117DF4AC-A1F4-4A2A-BE68-FC680D3EFB3E}" destId="{8F3310B5-6C7C-4D63-B6E9-B1D6D712FAA4}" srcOrd="3" destOrd="0" parTransId="{7F646A99-614C-4B26-90B2-B954BB87D3A2}" sibTransId="{323CD035-7AE3-43E6-8E68-A4BA61ED0019}"/>
    <dgm:cxn modelId="{AF6B3BD0-F035-4442-8916-2C1F2E125CC5}" type="presOf" srcId="{1A90692C-04FD-4207-A566-278B9BC29CE6}" destId="{569D23E5-A305-49E4-B173-DFB064024BBD}" srcOrd="0" destOrd="0" presId="urn:microsoft.com/office/officeart/2005/8/layout/venn2"/>
    <dgm:cxn modelId="{E1893302-AD38-4208-BE0D-C1D6D7F8B4B8}" type="presOf" srcId="{8F3310B5-6C7C-4D63-B6E9-B1D6D712FAA4}" destId="{91DC241D-DCBE-4E50-BED2-136DA9877E3C}" srcOrd="1" destOrd="0" presId="urn:microsoft.com/office/officeart/2005/8/layout/venn2"/>
    <dgm:cxn modelId="{05E9DBDF-81CB-4E7E-9941-9062B7BED999}" srcId="{117DF4AC-A1F4-4A2A-BE68-FC680D3EFB3E}" destId="{7D40692F-C0B6-4031-8BB6-4F891550A0D7}" srcOrd="1" destOrd="0" parTransId="{5A076A5F-831C-4222-86D8-16C35373F8A0}" sibTransId="{CE1EEADA-FED5-491A-9E13-C702E23600CF}"/>
    <dgm:cxn modelId="{64935E03-0D5A-466A-8167-3D38532176A1}" type="presOf" srcId="{7D40692F-C0B6-4031-8BB6-4F891550A0D7}" destId="{3E056796-BDD8-470D-8A04-47C782CE3699}" srcOrd="1" destOrd="0" presId="urn:microsoft.com/office/officeart/2005/8/layout/venn2"/>
    <dgm:cxn modelId="{0D49983F-3DE4-421D-A96F-E10373EF38F8}" type="presOf" srcId="{7E9BDBDA-A16A-42D2-ABF2-244172E5EE5D}" destId="{7CB54BE6-9271-487C-9400-E74F748B5D62}" srcOrd="0" destOrd="0" presId="urn:microsoft.com/office/officeart/2005/8/layout/venn2"/>
    <dgm:cxn modelId="{9D27F0ED-4327-40EC-8E83-DB7437BC4F1B}" type="presOf" srcId="{1A90692C-04FD-4207-A566-278B9BC29CE6}" destId="{79343329-7DAB-4946-9365-B131657DFA30}" srcOrd="1" destOrd="0" presId="urn:microsoft.com/office/officeart/2005/8/layout/venn2"/>
    <dgm:cxn modelId="{97A5D641-3F4E-4477-9509-A97EA05AD8FF}" srcId="{117DF4AC-A1F4-4A2A-BE68-FC680D3EFB3E}" destId="{9D7032AA-AAC0-454C-945C-6B8872869A3F}" srcOrd="0" destOrd="0" parTransId="{DF4ED3A5-6328-48BE-961C-DAEBB83016C6}" sibTransId="{85E25CAD-F50D-4271-88E4-0A0EE0C1AEA7}"/>
    <dgm:cxn modelId="{B8CDC6DF-24C4-48C1-A2EC-3F657AC3FAB5}" type="presOf" srcId="{A061F07F-0169-4F01-BA22-1AABABEDCA3C}" destId="{9128AE13-24EF-4423-A7D8-3358A2436B97}" srcOrd="1" destOrd="0" presId="urn:microsoft.com/office/officeart/2005/8/layout/venn2"/>
    <dgm:cxn modelId="{4D073A89-67E0-4322-B3A2-2C7837FF06DC}" type="presOf" srcId="{9D7032AA-AAC0-454C-945C-6B8872869A3F}" destId="{B4BA4EEE-E8DF-4AF2-A917-FE1B9E363C69}" srcOrd="1" destOrd="0" presId="urn:microsoft.com/office/officeart/2005/8/layout/venn2"/>
    <dgm:cxn modelId="{3419AA5A-ED3B-4FED-8116-C0216904B09F}" srcId="{117DF4AC-A1F4-4A2A-BE68-FC680D3EFB3E}" destId="{1A90692C-04FD-4207-A566-278B9BC29CE6}" srcOrd="4" destOrd="0" parTransId="{0C437A96-EAD1-47AD-AB6C-CD51735573CA}" sibTransId="{EF6CCF21-C10E-4C04-BF72-9AAB9BF6642D}"/>
    <dgm:cxn modelId="{6D041AF8-A52D-4816-9228-D1C738472C74}" type="presParOf" srcId="{BC015109-93B8-4253-89F6-5178B399C9FB}" destId="{4DA024C5-6065-4EFF-82F4-8D1E61F9F5DD}" srcOrd="0" destOrd="0" presId="urn:microsoft.com/office/officeart/2005/8/layout/venn2"/>
    <dgm:cxn modelId="{01B3AD3B-24B6-482A-9003-492234B6856B}" type="presParOf" srcId="{4DA024C5-6065-4EFF-82F4-8D1E61F9F5DD}" destId="{F45E859E-E9BF-4437-8FDD-AFCED6474148}" srcOrd="0" destOrd="0" presId="urn:microsoft.com/office/officeart/2005/8/layout/venn2"/>
    <dgm:cxn modelId="{7924731C-CE02-45FE-861C-943860389894}" type="presParOf" srcId="{4DA024C5-6065-4EFF-82F4-8D1E61F9F5DD}" destId="{B4BA4EEE-E8DF-4AF2-A917-FE1B9E363C69}" srcOrd="1" destOrd="0" presId="urn:microsoft.com/office/officeart/2005/8/layout/venn2"/>
    <dgm:cxn modelId="{32E136EC-19E8-4289-8AA6-F8FC38E7F124}" type="presParOf" srcId="{BC015109-93B8-4253-89F6-5178B399C9FB}" destId="{9F96D772-03AD-428F-983B-B71E3109CDCB}" srcOrd="1" destOrd="0" presId="urn:microsoft.com/office/officeart/2005/8/layout/venn2"/>
    <dgm:cxn modelId="{FA27CB4E-6015-4858-A846-D70A70FE8CEC}" type="presParOf" srcId="{9F96D772-03AD-428F-983B-B71E3109CDCB}" destId="{F9EFA782-9A91-4597-8F2C-E80E42B71CA5}" srcOrd="0" destOrd="0" presId="urn:microsoft.com/office/officeart/2005/8/layout/venn2"/>
    <dgm:cxn modelId="{810370D5-B91C-46F5-911A-6643DF0DDABE}" type="presParOf" srcId="{9F96D772-03AD-428F-983B-B71E3109CDCB}" destId="{3E056796-BDD8-470D-8A04-47C782CE3699}" srcOrd="1" destOrd="0" presId="urn:microsoft.com/office/officeart/2005/8/layout/venn2"/>
    <dgm:cxn modelId="{9B3116F3-A597-4049-8AFA-FFC6703523CA}" type="presParOf" srcId="{BC015109-93B8-4253-89F6-5178B399C9FB}" destId="{57E3ACD9-8E4A-49F8-8368-E0E0BF10E11B}" srcOrd="2" destOrd="0" presId="urn:microsoft.com/office/officeart/2005/8/layout/venn2"/>
    <dgm:cxn modelId="{47CDFB05-3385-46FD-BA44-B9D45ED28325}" type="presParOf" srcId="{57E3ACD9-8E4A-49F8-8368-E0E0BF10E11B}" destId="{7CB54BE6-9271-487C-9400-E74F748B5D62}" srcOrd="0" destOrd="0" presId="urn:microsoft.com/office/officeart/2005/8/layout/venn2"/>
    <dgm:cxn modelId="{D5E31B10-69EE-43F4-95C4-E44654280A7A}" type="presParOf" srcId="{57E3ACD9-8E4A-49F8-8368-E0E0BF10E11B}" destId="{B4943AEA-CCCF-4389-A345-514E88A8DDC6}" srcOrd="1" destOrd="0" presId="urn:microsoft.com/office/officeart/2005/8/layout/venn2"/>
    <dgm:cxn modelId="{B361C088-74E4-425A-AF6F-C67A6166AEE2}" type="presParOf" srcId="{BC015109-93B8-4253-89F6-5178B399C9FB}" destId="{54DC8669-1419-47A1-8418-AAAC629F2AAA}" srcOrd="3" destOrd="0" presId="urn:microsoft.com/office/officeart/2005/8/layout/venn2"/>
    <dgm:cxn modelId="{170E6E0F-0075-4F2E-A064-E07CB9906438}" type="presParOf" srcId="{54DC8669-1419-47A1-8418-AAAC629F2AAA}" destId="{C4EA5359-9BA5-4C1B-A540-864561C5CC9F}" srcOrd="0" destOrd="0" presId="urn:microsoft.com/office/officeart/2005/8/layout/venn2"/>
    <dgm:cxn modelId="{BB973374-B7BD-4E18-AAED-5597309F837F}" type="presParOf" srcId="{54DC8669-1419-47A1-8418-AAAC629F2AAA}" destId="{91DC241D-DCBE-4E50-BED2-136DA9877E3C}" srcOrd="1" destOrd="0" presId="urn:microsoft.com/office/officeart/2005/8/layout/venn2"/>
    <dgm:cxn modelId="{55331572-8AE1-4991-9C38-A9CF8A15A9E5}" type="presParOf" srcId="{BC015109-93B8-4253-89F6-5178B399C9FB}" destId="{2FF0D8DA-A267-4662-A250-6A866A777736}" srcOrd="4" destOrd="0" presId="urn:microsoft.com/office/officeart/2005/8/layout/venn2"/>
    <dgm:cxn modelId="{07C0C345-C283-4E30-B67C-11149738588C}" type="presParOf" srcId="{2FF0D8DA-A267-4662-A250-6A866A777736}" destId="{569D23E5-A305-49E4-B173-DFB064024BBD}" srcOrd="0" destOrd="0" presId="urn:microsoft.com/office/officeart/2005/8/layout/venn2"/>
    <dgm:cxn modelId="{860A2189-B78F-473A-B6BE-B55B3EDF05F4}" type="presParOf" srcId="{2FF0D8DA-A267-4662-A250-6A866A777736}" destId="{79343329-7DAB-4946-9365-B131657DFA30}" srcOrd="1" destOrd="0" presId="urn:microsoft.com/office/officeart/2005/8/layout/venn2"/>
    <dgm:cxn modelId="{42C4E99E-5E84-425E-82A7-7DA7C61E92CA}" type="presParOf" srcId="{BC015109-93B8-4253-89F6-5178B399C9FB}" destId="{EE0F675E-5120-415E-90C6-52E970F2856C}" srcOrd="5" destOrd="0" presId="urn:microsoft.com/office/officeart/2005/8/layout/venn2"/>
    <dgm:cxn modelId="{A3D74CAE-58FF-40DD-86B2-7CB84E0D9887}" type="presParOf" srcId="{EE0F675E-5120-415E-90C6-52E970F2856C}" destId="{6927866A-7D31-4A81-9899-5D30C3020362}" srcOrd="0" destOrd="0" presId="urn:microsoft.com/office/officeart/2005/8/layout/venn2"/>
    <dgm:cxn modelId="{ADEC963B-EAE3-40F5-9D22-75B00F72E80A}" type="presParOf" srcId="{EE0F675E-5120-415E-90C6-52E970F2856C}" destId="{9128AE13-24EF-4423-A7D8-3358A2436B97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7FB113-5BA7-4ADB-B58A-25411C8D6025}">
      <dsp:nvSpPr>
        <dsp:cNvPr id="0" name=""/>
        <dsp:cNvSpPr/>
      </dsp:nvSpPr>
      <dsp:spPr>
        <a:xfrm>
          <a:off x="2095108" y="568040"/>
          <a:ext cx="53839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38397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500" kern="1200"/>
        </a:p>
      </dsp:txBody>
      <dsp:txXfrm>
        <a:off x="2350082" y="610915"/>
        <a:ext cx="28449" cy="5689"/>
      </dsp:txXfrm>
    </dsp:sp>
    <dsp:sp modelId="{5599F298-B1FD-4ED7-91C2-ED0783306877}">
      <dsp:nvSpPr>
        <dsp:cNvPr id="0" name=""/>
        <dsp:cNvSpPr/>
      </dsp:nvSpPr>
      <dsp:spPr>
        <a:xfrm>
          <a:off x="475" y="12506"/>
          <a:ext cx="2096433" cy="1202508"/>
        </a:xfrm>
        <a:prstGeom prst="rect">
          <a:avLst/>
        </a:prstGeom>
        <a:solidFill>
          <a:srgbClr val="582458"/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Complaint No. –Can be automatic generated </a:t>
          </a:r>
          <a:endParaRPr lang="en-GB" sz="1200" kern="1200" dirty="0"/>
        </a:p>
      </dsp:txBody>
      <dsp:txXfrm>
        <a:off x="475" y="12506"/>
        <a:ext cx="2096433" cy="1202508"/>
      </dsp:txXfrm>
    </dsp:sp>
    <dsp:sp modelId="{A594BDBF-AA0E-4C8C-A2B7-2CCFD37756E8}">
      <dsp:nvSpPr>
        <dsp:cNvPr id="0" name=""/>
        <dsp:cNvSpPr/>
      </dsp:nvSpPr>
      <dsp:spPr>
        <a:xfrm>
          <a:off x="4680854" y="568040"/>
          <a:ext cx="53839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38397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500" kern="1200"/>
        </a:p>
      </dsp:txBody>
      <dsp:txXfrm>
        <a:off x="4935827" y="610915"/>
        <a:ext cx="28449" cy="5689"/>
      </dsp:txXfrm>
    </dsp:sp>
    <dsp:sp modelId="{1423C1A0-3A5E-4E63-977C-89D50133C385}">
      <dsp:nvSpPr>
        <dsp:cNvPr id="0" name=""/>
        <dsp:cNvSpPr/>
      </dsp:nvSpPr>
      <dsp:spPr>
        <a:xfrm>
          <a:off x="2665905" y="25790"/>
          <a:ext cx="2016748" cy="1175939"/>
        </a:xfrm>
        <a:prstGeom prst="rect">
          <a:avLst/>
        </a:prstGeom>
        <a:solidFill>
          <a:schemeClr val="accent2">
            <a:lumMod val="7500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Customer name </a:t>
          </a:r>
          <a:endParaRPr lang="en-GB" sz="1200" kern="1200" dirty="0"/>
        </a:p>
      </dsp:txBody>
      <dsp:txXfrm>
        <a:off x="2665905" y="25790"/>
        <a:ext cx="2016748" cy="1175939"/>
      </dsp:txXfrm>
    </dsp:sp>
    <dsp:sp modelId="{28A11CF7-6485-4752-8CFE-DC5D92EE79E1}">
      <dsp:nvSpPr>
        <dsp:cNvPr id="0" name=""/>
        <dsp:cNvSpPr/>
      </dsp:nvSpPr>
      <dsp:spPr>
        <a:xfrm>
          <a:off x="1150604" y="1210542"/>
          <a:ext cx="5093947" cy="541069"/>
        </a:xfrm>
        <a:custGeom>
          <a:avLst/>
          <a:gdLst/>
          <a:ahLst/>
          <a:cxnLst/>
          <a:rect l="0" t="0" r="0" b="0"/>
          <a:pathLst>
            <a:path>
              <a:moveTo>
                <a:pt x="5093947" y="0"/>
              </a:moveTo>
              <a:lnTo>
                <a:pt x="5093947" y="287634"/>
              </a:lnTo>
              <a:lnTo>
                <a:pt x="0" y="287634"/>
              </a:lnTo>
              <a:lnTo>
                <a:pt x="0" y="541069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500" kern="1200"/>
        </a:p>
      </dsp:txBody>
      <dsp:txXfrm>
        <a:off x="3569429" y="1478232"/>
        <a:ext cx="256296" cy="5689"/>
      </dsp:txXfrm>
    </dsp:sp>
    <dsp:sp modelId="{A2A2269B-5BAD-4303-9237-463C448CB971}">
      <dsp:nvSpPr>
        <dsp:cNvPr id="0" name=""/>
        <dsp:cNvSpPr/>
      </dsp:nvSpPr>
      <dsp:spPr>
        <a:xfrm>
          <a:off x="5251651" y="15177"/>
          <a:ext cx="1985800" cy="1197165"/>
        </a:xfrm>
        <a:prstGeom prst="rect">
          <a:avLst/>
        </a:prstGeom>
        <a:solidFill>
          <a:srgbClr val="FFC000"/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Area or region of the customer –Central,Dar,North ,South ,Zanzibar</a:t>
          </a:r>
          <a:endParaRPr lang="en-GB" sz="1200" kern="1200" dirty="0"/>
        </a:p>
      </dsp:txBody>
      <dsp:txXfrm>
        <a:off x="5251651" y="15177"/>
        <a:ext cx="1985800" cy="1197165"/>
      </dsp:txXfrm>
    </dsp:sp>
    <dsp:sp modelId="{69A6BBC8-9532-4860-9930-953D1BD17D80}">
      <dsp:nvSpPr>
        <dsp:cNvPr id="0" name=""/>
        <dsp:cNvSpPr/>
      </dsp:nvSpPr>
      <dsp:spPr>
        <a:xfrm>
          <a:off x="2298933" y="2275059"/>
          <a:ext cx="53839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38397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500" kern="1200"/>
        </a:p>
      </dsp:txBody>
      <dsp:txXfrm>
        <a:off x="2553906" y="2317934"/>
        <a:ext cx="28449" cy="5689"/>
      </dsp:txXfrm>
    </dsp:sp>
    <dsp:sp modelId="{435025EF-6DF7-4B20-88EA-2EEE5B881007}">
      <dsp:nvSpPr>
        <dsp:cNvPr id="0" name=""/>
        <dsp:cNvSpPr/>
      </dsp:nvSpPr>
      <dsp:spPr>
        <a:xfrm>
          <a:off x="475" y="1784011"/>
          <a:ext cx="2300257" cy="1073534"/>
        </a:xfrm>
        <a:prstGeom prst="rect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Date of complaint received –To be inserted manually </a:t>
          </a:r>
          <a:endParaRPr lang="en-GB" sz="1200" kern="1200" dirty="0"/>
        </a:p>
      </dsp:txBody>
      <dsp:txXfrm>
        <a:off x="475" y="1784011"/>
        <a:ext cx="2300257" cy="1073534"/>
      </dsp:txXfrm>
    </dsp:sp>
    <dsp:sp modelId="{69187319-04FE-4DBC-9F17-85BA4BB843F6}">
      <dsp:nvSpPr>
        <dsp:cNvPr id="0" name=""/>
        <dsp:cNvSpPr/>
      </dsp:nvSpPr>
      <dsp:spPr>
        <a:xfrm>
          <a:off x="1089610" y="2808054"/>
          <a:ext cx="2771251" cy="586089"/>
        </a:xfrm>
        <a:custGeom>
          <a:avLst/>
          <a:gdLst/>
          <a:ahLst/>
          <a:cxnLst/>
          <a:rect l="0" t="0" r="0" b="0"/>
          <a:pathLst>
            <a:path>
              <a:moveTo>
                <a:pt x="2771251" y="0"/>
              </a:moveTo>
              <a:lnTo>
                <a:pt x="2771251" y="310144"/>
              </a:lnTo>
              <a:lnTo>
                <a:pt x="0" y="310144"/>
              </a:lnTo>
              <a:lnTo>
                <a:pt x="0" y="586089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500" kern="1200"/>
        </a:p>
      </dsp:txBody>
      <dsp:txXfrm>
        <a:off x="2404259" y="3098254"/>
        <a:ext cx="141951" cy="5689"/>
      </dsp:txXfrm>
    </dsp:sp>
    <dsp:sp modelId="{63D76814-7963-4FA2-96F9-0DEFA15EAD78}">
      <dsp:nvSpPr>
        <dsp:cNvPr id="0" name=""/>
        <dsp:cNvSpPr/>
      </dsp:nvSpPr>
      <dsp:spPr>
        <a:xfrm>
          <a:off x="2869730" y="1831703"/>
          <a:ext cx="1982262" cy="978150"/>
        </a:xfrm>
        <a:prstGeom prst="rect">
          <a:avLst/>
        </a:prstGeom>
        <a:solidFill>
          <a:srgbClr val="C00000"/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Nature of the Complaint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 </a:t>
          </a:r>
          <a:endParaRPr lang="en-GB" sz="1200" kern="1200" dirty="0"/>
        </a:p>
      </dsp:txBody>
      <dsp:txXfrm>
        <a:off x="2869730" y="1831703"/>
        <a:ext cx="1982262" cy="978150"/>
      </dsp:txXfrm>
    </dsp:sp>
    <dsp:sp modelId="{C3B73125-645E-42FA-BAF4-E67ADF11E9A5}">
      <dsp:nvSpPr>
        <dsp:cNvPr id="0" name=""/>
        <dsp:cNvSpPr/>
      </dsp:nvSpPr>
      <dsp:spPr>
        <a:xfrm>
          <a:off x="475" y="3426543"/>
          <a:ext cx="2178269" cy="1017040"/>
        </a:xfrm>
        <a:prstGeom prst="rect">
          <a:avLst/>
        </a:prstGeom>
        <a:solidFill>
          <a:srgbClr val="00B0F0"/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Details of the complaint </a:t>
          </a:r>
          <a:endParaRPr lang="en-GB" sz="1200" kern="1200" dirty="0"/>
        </a:p>
      </dsp:txBody>
      <dsp:txXfrm>
        <a:off x="475" y="3426543"/>
        <a:ext cx="2178269" cy="10170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45E859E-E9BF-4437-8FDD-AFCED6474148}">
      <dsp:nvSpPr>
        <dsp:cNvPr id="0" name=""/>
        <dsp:cNvSpPr/>
      </dsp:nvSpPr>
      <dsp:spPr>
        <a:xfrm>
          <a:off x="1515012" y="0"/>
          <a:ext cx="4742531" cy="4742531"/>
        </a:xfrm>
        <a:prstGeom prst="ellipse">
          <a:avLst/>
        </a:prstGeom>
        <a:solidFill>
          <a:srgbClr val="00B0F0"/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Investigate </a:t>
          </a:r>
          <a:endParaRPr lang="en-GB" sz="1200" kern="1200" dirty="0"/>
        </a:p>
      </dsp:txBody>
      <dsp:txXfrm>
        <a:off x="2997053" y="237126"/>
        <a:ext cx="1778449" cy="474253"/>
      </dsp:txXfrm>
    </dsp:sp>
    <dsp:sp modelId="{F9EFA782-9A91-4597-8F2C-E80E42B71CA5}">
      <dsp:nvSpPr>
        <dsp:cNvPr id="0" name=""/>
        <dsp:cNvSpPr/>
      </dsp:nvSpPr>
      <dsp:spPr>
        <a:xfrm>
          <a:off x="1674203" y="711379"/>
          <a:ext cx="4424148" cy="4031151"/>
        </a:xfrm>
        <a:prstGeom prst="ellips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64008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900" kern="1200" dirty="0" smtClean="0"/>
            <a:t>For Quality Complaint-Laboratory test must be done</a:t>
          </a: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900" kern="1200" dirty="0" smtClean="0"/>
            <a:t>Sample must be </a:t>
          </a:r>
          <a:r>
            <a:rPr lang="en-GB" sz="1200" kern="1200" dirty="0" smtClean="0"/>
            <a:t>collected  </a:t>
          </a:r>
          <a:endParaRPr lang="en-GB" sz="1200" kern="1200" dirty="0"/>
        </a:p>
      </dsp:txBody>
      <dsp:txXfrm>
        <a:off x="2932321" y="943170"/>
        <a:ext cx="1907913" cy="463582"/>
      </dsp:txXfrm>
    </dsp:sp>
    <dsp:sp modelId="{7CB54BE6-9271-487C-9400-E74F748B5D62}">
      <dsp:nvSpPr>
        <dsp:cNvPr id="0" name=""/>
        <dsp:cNvSpPr/>
      </dsp:nvSpPr>
      <dsp:spPr>
        <a:xfrm>
          <a:off x="2255207" y="1422759"/>
          <a:ext cx="3319771" cy="3319771"/>
        </a:xfrm>
        <a:prstGeom prst="ellipse">
          <a:avLst/>
        </a:prstGeom>
        <a:solidFill>
          <a:srgbClr val="00B050"/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000" kern="1200" dirty="0" smtClean="0"/>
            <a:t>Identify root cause of the complaints</a:t>
          </a:r>
          <a:endParaRPr lang="en-GB" sz="1000" kern="1200" dirty="0"/>
        </a:p>
      </dsp:txBody>
      <dsp:txXfrm>
        <a:off x="3056102" y="1651823"/>
        <a:ext cx="1717981" cy="458128"/>
      </dsp:txXfrm>
    </dsp:sp>
    <dsp:sp modelId="{C4EA5359-9BA5-4C1B-A540-864561C5CC9F}">
      <dsp:nvSpPr>
        <dsp:cNvPr id="0" name=""/>
        <dsp:cNvSpPr/>
      </dsp:nvSpPr>
      <dsp:spPr>
        <a:xfrm>
          <a:off x="2582081" y="2134138"/>
          <a:ext cx="2608392" cy="2608392"/>
        </a:xfrm>
        <a:prstGeom prst="ellipse">
          <a:avLst/>
        </a:prstGeom>
        <a:solidFill>
          <a:srgbClr val="FFC000"/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000" kern="1200" dirty="0" smtClean="0"/>
            <a:t>Financial  impact</a:t>
          </a:r>
          <a:r>
            <a:rPr lang="en-GB" sz="700" kern="1200" dirty="0" smtClean="0"/>
            <a:t> </a:t>
          </a:r>
          <a:endParaRPr lang="en-GB" sz="700" kern="1200" dirty="0"/>
        </a:p>
      </dsp:txBody>
      <dsp:txXfrm>
        <a:off x="3182012" y="2368894"/>
        <a:ext cx="1408531" cy="469510"/>
      </dsp:txXfrm>
    </dsp:sp>
    <dsp:sp modelId="{569D23E5-A305-49E4-B173-DFB064024BBD}">
      <dsp:nvSpPr>
        <dsp:cNvPr id="0" name=""/>
        <dsp:cNvSpPr/>
      </dsp:nvSpPr>
      <dsp:spPr>
        <a:xfrm>
          <a:off x="2937771" y="2845518"/>
          <a:ext cx="1897012" cy="1897012"/>
        </a:xfrm>
        <a:prstGeom prst="ellipse">
          <a:avLst/>
        </a:prstGeom>
        <a:solidFill>
          <a:srgbClr val="FF0000"/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64008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900" kern="1200" dirty="0" smtClean="0"/>
            <a:t>Close</a:t>
          </a:r>
          <a:r>
            <a:rPr lang="en-GB" sz="900" kern="1200" baseline="0" dirty="0" smtClean="0"/>
            <a:t> complaint</a:t>
          </a: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900" kern="1200" dirty="0" smtClean="0"/>
            <a:t>providing the solution to the complaint</a:t>
          </a:r>
          <a:r>
            <a:rPr lang="en-GB" sz="900" kern="1200" baseline="0" dirty="0" smtClean="0"/>
            <a:t> </a:t>
          </a:r>
          <a:endParaRPr lang="en-GB" sz="900" kern="1200" dirty="0"/>
        </a:p>
      </dsp:txBody>
      <dsp:txXfrm>
        <a:off x="3269748" y="3082645"/>
        <a:ext cx="1233058" cy="474253"/>
      </dsp:txXfrm>
    </dsp:sp>
    <dsp:sp modelId="{6927866A-7D31-4A81-9899-5D30C3020362}">
      <dsp:nvSpPr>
        <dsp:cNvPr id="0" name=""/>
        <dsp:cNvSpPr/>
      </dsp:nvSpPr>
      <dsp:spPr>
        <a:xfrm>
          <a:off x="3293461" y="3556898"/>
          <a:ext cx="1185632" cy="1185632"/>
        </a:xfrm>
        <a:prstGeom prst="ellipse">
          <a:avLst/>
        </a:prstGeom>
        <a:solidFill>
          <a:srgbClr val="0070C0"/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000" kern="1200" dirty="0" smtClean="0"/>
            <a:t>Communicate back 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000" kern="1200" dirty="0" smtClean="0">
              <a:solidFill>
                <a:schemeClr val="tx1">
                  <a:lumMod val="95000"/>
                  <a:lumOff val="5000"/>
                </a:schemeClr>
              </a:solidFill>
            </a:rPr>
            <a:t>In charge of the customers</a:t>
          </a:r>
          <a:endParaRPr lang="en-GB" sz="1000" kern="1200" dirty="0">
            <a:solidFill>
              <a:schemeClr val="tx1">
                <a:lumMod val="95000"/>
                <a:lumOff val="5000"/>
              </a:schemeClr>
            </a:solidFill>
          </a:endParaRPr>
        </a:p>
      </dsp:txBody>
      <dsp:txXfrm>
        <a:off x="3467093" y="3853306"/>
        <a:ext cx="838368" cy="5928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Process3">
  <dgm:title val=""/>
  <dgm:desc val=""/>
  <dgm:catLst>
    <dgm:cat type="process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AB933A-9BB0-4894-9827-C3B3DD1D4C91}" type="datetimeFigureOut">
              <a:rPr lang="en-GB" smtClean="0"/>
              <a:t>08/04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211AC9-05AC-4271-876E-A5C66C243A0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71574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211AC9-05AC-4271-876E-A5C66C243A06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05172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211AC9-05AC-4271-876E-A5C66C243A06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20149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10" Type="http://schemas.openxmlformats.org/officeDocument/2006/relationships/image" Target="../media/image2.jpeg"/><Relationship Id="rId4" Type="http://schemas.openxmlformats.org/officeDocument/2006/relationships/tags" Target="../tags/tag13.xml"/><Relationship Id="rId9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10" Type="http://schemas.openxmlformats.org/officeDocument/2006/relationships/image" Target="../media/image2.jpeg"/><Relationship Id="rId4" Type="http://schemas.openxmlformats.org/officeDocument/2006/relationships/tags" Target="../tags/tag40.xml"/><Relationship Id="rId9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5">
            <a:extLst>
              <a:ext uri="{FF2B5EF4-FFF2-40B4-BE49-F238E27FC236}"/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-4233" y="358775"/>
            <a:ext cx="383117" cy="287338"/>
          </a:xfrm>
          <a:prstGeom prst="rect">
            <a:avLst/>
          </a:prstGeom>
          <a:solidFill>
            <a:srgbClr val="00823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6" name="Rectangle 6">
            <a:extLst>
              <a:ext uri="{FF2B5EF4-FFF2-40B4-BE49-F238E27FC236}"/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043834" y="0"/>
            <a:ext cx="143933" cy="6858000"/>
          </a:xfrm>
          <a:prstGeom prst="rect">
            <a:avLst/>
          </a:prstGeom>
          <a:solidFill>
            <a:srgbClr val="00823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800">
              <a:solidFill>
                <a:srgbClr val="000000"/>
              </a:solidFill>
            </a:endParaRPr>
          </a:p>
        </p:txBody>
      </p:sp>
      <p:pic>
        <p:nvPicPr>
          <p:cNvPr id="7" name="Picture 7" descr="HDCement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9351" y="6381751"/>
            <a:ext cx="2878667" cy="18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9" name="Text Box 8">
            <a:extLst>
              <a:ext uri="{FF2B5EF4-FFF2-40B4-BE49-F238E27FC236}"/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751918" y="6297614"/>
            <a:ext cx="2669116" cy="350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00">
                <a:solidFill>
                  <a:srgbClr val="007C36"/>
                </a:solidFill>
                <a:latin typeface="Century Gothic" pitchFamily="34" charset="0"/>
              </a:rPr>
              <a:t>AFRICA</a:t>
            </a:r>
            <a:endParaRPr lang="de-DE" sz="1700">
              <a:solidFill>
                <a:srgbClr val="007C36"/>
              </a:solidFill>
              <a:latin typeface="Century Gothic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0" name="Footer Placeholder 77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Twiga Cement.</a:t>
            </a:r>
            <a:endParaRPr lang="en-GB"/>
          </a:p>
        </p:txBody>
      </p:sp>
      <p:sp>
        <p:nvSpPr>
          <p:cNvPr id="11" name="Date Placeholder 2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12" name="Slide Number Placeholder 78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453DC23-27AF-47DC-8649-0427854BBA9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0988768"/>
      </p:ext>
    </p:extLst>
  </p:cSld>
  <p:clrMapOvr>
    <a:masterClrMapping/>
  </p:clrMapOvr>
  <p:transition spd="slow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smtClean="0">
                <a:solidFill>
                  <a:srgbClr val="000000"/>
                </a:solidFill>
              </a:rPr>
              <a:t>Twiga Cement.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3" name="Date Placeholder 1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" name="Slide Number Placeholder 2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2545FB-F8E1-4E30-838D-1CC31E56073D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2507770"/>
      </p:ext>
    </p:extLst>
  </p:cSld>
  <p:clrMapOvr>
    <a:masterClrMapping/>
  </p:clrMapOvr>
  <p:transition spd="slow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8867" y="358776"/>
            <a:ext cx="10750551" cy="631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68867" y="1052513"/>
            <a:ext cx="5344584" cy="50609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16651" y="1052513"/>
            <a:ext cx="5346700" cy="50609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smtClean="0">
                <a:solidFill>
                  <a:srgbClr val="000000"/>
                </a:solidFill>
              </a:rPr>
              <a:t>Twiga Cement.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Date Placeholder 1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Slide Number Placeholder 2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88954C-2C58-4BC5-915C-81870A850AB3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4367174"/>
      </p:ext>
    </p:extLst>
  </p:cSld>
  <p:clrMapOvr>
    <a:masterClrMapping/>
  </p:clrMapOvr>
  <p:transition spd="slow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4346" y="2868991"/>
            <a:ext cx="11243380" cy="589709"/>
          </a:xfrm>
          <a:prstGeom prst="rect">
            <a:avLst/>
          </a:prstGeom>
        </p:spPr>
        <p:txBody>
          <a:bodyPr lIns="0" tIns="41552" rIns="0" bIns="41552" anchor="b" anchorCtr="0">
            <a:normAutofit/>
          </a:bodyPr>
          <a:lstStyle>
            <a:lvl1pPr>
              <a:defRPr sz="25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4330" y="3458703"/>
            <a:ext cx="11255141" cy="539163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 algn="l">
              <a:buNone/>
              <a:defRPr sz="2200">
                <a:solidFill>
                  <a:schemeClr val="bg1"/>
                </a:solidFill>
              </a:defRPr>
            </a:lvl1pPr>
            <a:lvl2pPr marL="445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8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9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54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1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7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6" name="Rectangle 22"/>
          <p:cNvSpPr>
            <a:spLocks noChangeArrowheads="1"/>
          </p:cNvSpPr>
          <p:nvPr/>
        </p:nvSpPr>
        <p:spPr bwMode="auto">
          <a:xfrm>
            <a:off x="12060386" y="2"/>
            <a:ext cx="141773" cy="6858000"/>
          </a:xfrm>
          <a:prstGeom prst="rect">
            <a:avLst/>
          </a:prstGeom>
          <a:solidFill>
            <a:srgbClr val="008238"/>
          </a:solidFill>
          <a:ln>
            <a:noFill/>
          </a:ln>
          <a:effectLst/>
          <a:extLst/>
        </p:spPr>
        <p:txBody>
          <a:bodyPr wrap="none" lIns="83098" tIns="41552" rIns="83098" bIns="41552" anchor="ctr"/>
          <a:lstStyle/>
          <a:p>
            <a:pPr defTabSz="891831" eaLnBrk="0" hangingPunct="0">
              <a:defRPr/>
            </a:pPr>
            <a:endParaRPr lang="en-US" sz="17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6475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782" y="358776"/>
            <a:ext cx="11572804" cy="83443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  <p:sp>
        <p:nvSpPr>
          <p:cNvPr id="4" name="Text Placeholder 10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470455" y="1287062"/>
            <a:ext cx="11251092" cy="5095600"/>
          </a:xfrm>
          <a:prstGeom prst="rect">
            <a:avLst/>
          </a:prstGeom>
        </p:spPr>
        <p:txBody>
          <a:bodyPr vert="horz" lIns="83098" tIns="41552" rIns="83098" bIns="41552" rtlCol="0" anchor="t" anchorCtr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18924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70155" y="1306090"/>
            <a:ext cx="11251731" cy="50967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2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45375" lvl="0" indent="-246705" algn="l" defTabSz="891598" rtl="0" eaLnBrk="1" fontAlgn="base" latinLnBrk="0" hangingPunct="1">
              <a:lnSpc>
                <a:spcPct val="150000"/>
              </a:lnSpc>
              <a:spcBef>
                <a:spcPts val="546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24560" y="53595"/>
            <a:ext cx="11574369" cy="83443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111362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49435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69279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891767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887759" y="6390857"/>
            <a:ext cx="4800599" cy="359891"/>
          </a:xfrm>
        </p:spPr>
        <p:txBody>
          <a:bodyPr/>
          <a:lstStyle>
            <a:lvl1pPr marL="0" indent="0">
              <a:buNone/>
              <a:defRPr sz="8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41282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22300" y="358776"/>
            <a:ext cx="10797117" cy="6318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865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68867" y="1052513"/>
            <a:ext cx="5344584" cy="50609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6651" y="1052513"/>
            <a:ext cx="5346700" cy="50609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Twiga Cement.</a:t>
            </a:r>
            <a:endParaRPr lang="en-GB"/>
          </a:p>
        </p:txBody>
      </p:sp>
      <p:sp>
        <p:nvSpPr>
          <p:cNvPr id="6" name="Date Placeholder 1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7" name="Slide Number Placeholder 2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6453DC23-27AF-47DC-8649-0427854BBA9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8115359"/>
      </p:ext>
    </p:extLst>
  </p:cSld>
  <p:clrMapOvr>
    <a:masterClrMapping/>
  </p:clrMapOvr>
  <p:transition spd="slow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36063" y="1715879"/>
            <a:ext cx="11519876" cy="4592848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235546" indent="-235546" algn="l" defTabSz="851268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1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96862" y="414000"/>
            <a:ext cx="9526153" cy="64770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969732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4547" y="53595"/>
            <a:ext cx="11572804" cy="83443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887759" y="6390857"/>
            <a:ext cx="4800599" cy="359891"/>
          </a:xfrm>
        </p:spPr>
        <p:txBody>
          <a:bodyPr/>
          <a:lstStyle>
            <a:lvl1pPr marL="0" indent="0">
              <a:buNone/>
              <a:defRPr sz="8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85170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4547" y="53595"/>
            <a:ext cx="11572804" cy="83443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887759" y="6390857"/>
            <a:ext cx="4800599" cy="359891"/>
          </a:xfrm>
        </p:spPr>
        <p:txBody>
          <a:bodyPr/>
          <a:lstStyle>
            <a:lvl1pPr marL="0" indent="0">
              <a:buNone/>
              <a:defRPr sz="8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53360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57442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20575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8731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4547" y="53595"/>
            <a:ext cx="11572804" cy="83443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  <p:sp>
        <p:nvSpPr>
          <p:cNvPr id="4" name="Text Placeholder 10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470455" y="1287062"/>
            <a:ext cx="11251092" cy="5095600"/>
          </a:xfrm>
          <a:prstGeom prst="rect">
            <a:avLst/>
          </a:prstGeom>
        </p:spPr>
        <p:txBody>
          <a:bodyPr vert="horz" lIns="83098" tIns="41552" rIns="83098" bIns="41552" rtlCol="0" anchor="t" anchorCtr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310029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4547" y="53595"/>
            <a:ext cx="11572804" cy="83443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887759" y="6390857"/>
            <a:ext cx="4800599" cy="359891"/>
          </a:xfrm>
        </p:spPr>
        <p:txBody>
          <a:bodyPr/>
          <a:lstStyle>
            <a:lvl1pPr marL="0" indent="0">
              <a:buNone/>
              <a:defRPr sz="8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67523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4547" y="-60706"/>
            <a:ext cx="11572804" cy="83443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SlideNumber"/>
          <p:cNvSpPr/>
          <p:nvPr/>
        </p:nvSpPr>
        <p:spPr>
          <a:xfrm>
            <a:off x="102752" y="6650240"/>
            <a:ext cx="401029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1831"/>
            <a:fld id="{BB69BBE8-4DB2-4642-B003-B220ACD5A2FD}" type="slidenum">
              <a:rPr lang="en-GB" sz="900">
                <a:solidFill>
                  <a:srgbClr val="000000">
                    <a:lumMod val="20000"/>
                    <a:lumOff val="80000"/>
                  </a:srgbClr>
                </a:solidFill>
              </a:rPr>
              <a:pPr algn="ctr" defTabSz="891831"/>
              <a:t>‹#›</a:t>
            </a:fld>
            <a:endParaRPr lang="en-GB" sz="900" dirty="0">
              <a:solidFill>
                <a:srgbClr val="000000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00095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47899" y="6596056"/>
            <a:ext cx="1000224" cy="248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1015" smtClean="0">
                <a:solidFill>
                  <a:schemeClr val="bg1"/>
                </a:solidFill>
              </a:defRPr>
            </a:lvl1pPr>
          </a:lstStyle>
          <a:p>
            <a:fld id="{6453DC23-27AF-47DC-8649-0427854BBA97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3076" y="6596056"/>
            <a:ext cx="8990928" cy="248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1015">
                <a:solidFill>
                  <a:schemeClr val="bg1"/>
                </a:solidFill>
              </a:defRPr>
            </a:lvl1pPr>
          </a:lstStyle>
          <a:p>
            <a:r>
              <a:rPr lang="en-GB" smtClean="0"/>
              <a:t>Twiga Cement.</a:t>
            </a:r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3077" y="903272"/>
            <a:ext cx="9600001" cy="36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477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43077" y="480422"/>
            <a:ext cx="9600000" cy="43601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84773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Twiga Cement.</a:t>
            </a:r>
            <a:endParaRPr lang="en-GB"/>
          </a:p>
        </p:txBody>
      </p:sp>
      <p:sp>
        <p:nvSpPr>
          <p:cNvPr id="4" name="Date Placeholder 1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5" name="Slide Number Placeholder 2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6453DC23-27AF-47DC-8649-0427854BBA9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2046581"/>
      </p:ext>
    </p:extLst>
  </p:cSld>
  <p:clrMapOvr>
    <a:masterClrMapping/>
  </p:clrMapOvr>
  <p:transition spd="slow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4547" y="-60706"/>
            <a:ext cx="11572804" cy="83443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SlideNumber"/>
          <p:cNvSpPr/>
          <p:nvPr/>
        </p:nvSpPr>
        <p:spPr>
          <a:xfrm>
            <a:off x="102752" y="6650240"/>
            <a:ext cx="401029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1831"/>
            <a:fld id="{BB69BBE8-4DB2-4642-B003-B220ACD5A2FD}" type="slidenum">
              <a:rPr lang="en-GB" sz="900">
                <a:solidFill>
                  <a:srgbClr val="000000">
                    <a:lumMod val="20000"/>
                    <a:lumOff val="80000"/>
                  </a:srgbClr>
                </a:solidFill>
              </a:rPr>
              <a:pPr algn="ctr" defTabSz="891831"/>
              <a:t>‹#›</a:t>
            </a:fld>
            <a:endParaRPr lang="en-GB" sz="900" dirty="0">
              <a:solidFill>
                <a:srgbClr val="000000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143513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4547" y="-60706"/>
            <a:ext cx="11572804" cy="83443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SlideNumber"/>
          <p:cNvSpPr/>
          <p:nvPr/>
        </p:nvSpPr>
        <p:spPr>
          <a:xfrm>
            <a:off x="102752" y="6650240"/>
            <a:ext cx="401029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1831"/>
            <a:fld id="{BB69BBE8-4DB2-4642-B003-B220ACD5A2FD}" type="slidenum">
              <a:rPr lang="en-GB" sz="900">
                <a:solidFill>
                  <a:srgbClr val="000000">
                    <a:lumMod val="20000"/>
                    <a:lumOff val="80000"/>
                  </a:srgbClr>
                </a:solidFill>
              </a:rPr>
              <a:pPr algn="ctr" defTabSz="891831"/>
              <a:t>‹#›</a:t>
            </a:fld>
            <a:endParaRPr lang="en-GB" sz="900" dirty="0">
              <a:solidFill>
                <a:srgbClr val="000000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462144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076" y="1548000"/>
            <a:ext cx="11304000" cy="47932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 marL="602289" indent="-167058">
              <a:defRPr lang="en-US" smtClean="0"/>
            </a:lvl4pPr>
            <a:lvl5pPr marL="593496" indent="16120">
              <a:defRPr lang="en-GB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43077" y="480422"/>
            <a:ext cx="9600000" cy="43601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47899" y="6596056"/>
            <a:ext cx="1000224" cy="248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1015" smtClean="0">
                <a:solidFill>
                  <a:schemeClr val="bg1"/>
                </a:solidFill>
              </a:defRPr>
            </a:lvl1pPr>
          </a:lstStyle>
          <a:p>
            <a:fld id="{6453DC23-27AF-47DC-8649-0427854BBA97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3076" y="6596056"/>
            <a:ext cx="8990928" cy="248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1015">
                <a:solidFill>
                  <a:schemeClr val="bg1"/>
                </a:solidFill>
              </a:defRPr>
            </a:lvl1pPr>
          </a:lstStyle>
          <a:p>
            <a:r>
              <a:rPr lang="en-GB" smtClean="0"/>
              <a:t>Twiga Cement.</a:t>
            </a:r>
            <a:endParaRPr lang="en-GB"/>
          </a:p>
        </p:txBody>
      </p:sp>
      <p:sp>
        <p:nvSpPr>
          <p:cNvPr id="6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443077" y="903272"/>
            <a:ext cx="9600001" cy="36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477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6731943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en objec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354371"/>
            <a:ext cx="387351" cy="279042"/>
          </a:xfrm>
          <a:prstGeom prst="rect">
            <a:avLst/>
          </a:prstGeom>
          <a:solidFill>
            <a:srgbClr val="008238"/>
          </a:solidFill>
          <a:ln>
            <a:solidFill>
              <a:srgbClr val="0082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nl-BE" sz="180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 flipH="1">
            <a:off x="12057543" y="0"/>
            <a:ext cx="134400" cy="6858000"/>
          </a:xfrm>
          <a:prstGeom prst="rect">
            <a:avLst/>
          </a:prstGeom>
          <a:solidFill>
            <a:srgbClr val="0082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nl-BE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275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Twiga Cement.</a:t>
            </a:r>
            <a:endParaRPr lang="en-GB"/>
          </a:p>
        </p:txBody>
      </p:sp>
      <p:sp>
        <p:nvSpPr>
          <p:cNvPr id="3" name="Date Placeholder 1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4" name="Slide Number Placeholder 2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6453DC23-27AF-47DC-8649-0427854BBA9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0855329"/>
      </p:ext>
    </p:extLst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8867" y="358776"/>
            <a:ext cx="10750551" cy="631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68867" y="1052513"/>
            <a:ext cx="5344584" cy="50609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16651" y="1052513"/>
            <a:ext cx="5346700" cy="50609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Twiga Cement.</a:t>
            </a:r>
            <a:endParaRPr lang="en-GB"/>
          </a:p>
        </p:txBody>
      </p:sp>
      <p:sp>
        <p:nvSpPr>
          <p:cNvPr id="6" name="Date Placeholder 1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7" name="Slide Number Placeholder 2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6453DC23-27AF-47DC-8649-0427854BBA9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8901542"/>
      </p:ext>
    </p:extLst>
  </p:cSld>
  <p:clrMapOvr>
    <a:masterClrMapping/>
  </p:clrMapOvr>
  <p:transition spd="slow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Twiga Cement.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53DC23-27AF-47DC-8649-0427854BBA9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34671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5">
            <a:extLst>
              <a:ext uri="{FF2B5EF4-FFF2-40B4-BE49-F238E27FC236}"/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-4233" y="358775"/>
            <a:ext cx="383117" cy="287338"/>
          </a:xfrm>
          <a:prstGeom prst="rect">
            <a:avLst/>
          </a:prstGeom>
          <a:solidFill>
            <a:srgbClr val="00823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6" name="Rectangle 6">
            <a:extLst>
              <a:ext uri="{FF2B5EF4-FFF2-40B4-BE49-F238E27FC236}"/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043834" y="0"/>
            <a:ext cx="143933" cy="6858000"/>
          </a:xfrm>
          <a:prstGeom prst="rect">
            <a:avLst/>
          </a:prstGeom>
          <a:solidFill>
            <a:srgbClr val="00823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800">
              <a:solidFill>
                <a:srgbClr val="000000"/>
              </a:solidFill>
            </a:endParaRPr>
          </a:p>
        </p:txBody>
      </p:sp>
      <p:pic>
        <p:nvPicPr>
          <p:cNvPr id="7" name="Picture 7" descr="HDCement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9351" y="6381751"/>
            <a:ext cx="2878667" cy="18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9" name="Text Box 8">
            <a:extLst>
              <a:ext uri="{FF2B5EF4-FFF2-40B4-BE49-F238E27FC236}"/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751918" y="6297614"/>
            <a:ext cx="2669116" cy="350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00">
                <a:solidFill>
                  <a:srgbClr val="007C36"/>
                </a:solidFill>
                <a:latin typeface="Century Gothic" pitchFamily="34" charset="0"/>
              </a:rPr>
              <a:t>AFRICA</a:t>
            </a:r>
            <a:endParaRPr lang="de-DE" sz="1700">
              <a:solidFill>
                <a:srgbClr val="007C36"/>
              </a:solidFill>
              <a:latin typeface="Century Gothic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0" name="Footer Placeholder 77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smtClean="0">
                <a:solidFill>
                  <a:srgbClr val="000000"/>
                </a:solidFill>
              </a:rPr>
              <a:t>Twiga Cement.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Date Placeholder 2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2" name="Slide Number Placeholder 78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F71DC9-684E-48C1-8EB1-77E8B4A4ABA7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0399997"/>
      </p:ext>
    </p:extLst>
  </p:cSld>
  <p:clrMapOvr>
    <a:masterClrMapping/>
  </p:clrMapOvr>
  <p:transition spd="slow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68867" y="1052513"/>
            <a:ext cx="5344584" cy="50609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6651" y="1052513"/>
            <a:ext cx="5346700" cy="50609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smtClean="0">
                <a:solidFill>
                  <a:srgbClr val="000000"/>
                </a:solidFill>
              </a:rPr>
              <a:t>Twiga Cement.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Date Placeholder 1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Slide Number Placeholder 2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344D8A-802F-4404-9FBA-7A8593BD11F4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9030640"/>
      </p:ext>
    </p:extLst>
  </p:cSld>
  <p:clrMapOvr>
    <a:masterClrMapping/>
  </p:clrMapOvr>
  <p:transition spd="slow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smtClean="0">
                <a:solidFill>
                  <a:srgbClr val="000000"/>
                </a:solidFill>
              </a:rPr>
              <a:t>Twiga Cement.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Date Placeholder 1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Slide Number Placeholder 2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BC77B2-6C0E-4810-AC0A-4371B21A0B30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625508"/>
      </p:ext>
    </p:extLst>
  </p:cSld>
  <p:clrMapOvr>
    <a:masterClrMapping/>
  </p:clrMapOvr>
  <p:transition spd="slow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theme" Target="../theme/theme1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Relationship Id="rId14" Type="http://schemas.openxmlformats.org/officeDocument/2006/relationships/tags" Target="../tags/tag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oleObject" Target="../embeddings/oleObject3.bin"/><Relationship Id="rId3" Type="http://schemas.openxmlformats.org/officeDocument/2006/relationships/slideLayout" Target="../slideLayouts/slideLayout9.xml"/><Relationship Id="rId7" Type="http://schemas.openxmlformats.org/officeDocument/2006/relationships/vmlDrawing" Target="../drawings/vmlDrawing3.v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" Type="http://schemas.openxmlformats.org/officeDocument/2006/relationships/slideLayout" Target="../slideLayouts/slideLayout8.xml"/><Relationship Id="rId16" Type="http://schemas.openxmlformats.org/officeDocument/2006/relationships/tags" Target="../tags/tag36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11" Type="http://schemas.openxmlformats.org/officeDocument/2006/relationships/tags" Target="../tags/tag31.xml"/><Relationship Id="rId5" Type="http://schemas.openxmlformats.org/officeDocument/2006/relationships/slideLayout" Target="../slideLayouts/slideLayout11.xml"/><Relationship Id="rId15" Type="http://schemas.openxmlformats.org/officeDocument/2006/relationships/tags" Target="../tags/tag35.xml"/><Relationship Id="rId10" Type="http://schemas.openxmlformats.org/officeDocument/2006/relationships/tags" Target="../tags/tag3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29.xml"/><Relationship Id="rId14" Type="http://schemas.openxmlformats.org/officeDocument/2006/relationships/tags" Target="../tags/tag3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tags" Target="../tags/tag56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55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vmlDrawing" Target="../drawings/vmlDrawing5.v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theme" Target="../theme/theme3.xml"/><Relationship Id="rId28" Type="http://schemas.openxmlformats.org/officeDocument/2006/relationships/oleObject" Target="../embeddings/oleObject5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tags" Target="../tags/tag57.xml"/><Relationship Id="rId30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794" name="Rectangle 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ftr" sz="quarter" idx="3"/>
            <p:custDataLst>
              <p:tags r:id="rId10"/>
            </p:custDataLst>
          </p:nvPr>
        </p:nvSpPr>
        <p:spPr bwMode="auto">
          <a:xfrm>
            <a:off x="622300" y="6523038"/>
            <a:ext cx="3953933" cy="315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latin typeface="Arial" charset="0"/>
              </a:defRPr>
            </a:lvl1pPr>
          </a:lstStyle>
          <a:p>
            <a:r>
              <a:rPr lang="en-GB" smtClean="0"/>
              <a:t>Twiga Cement.</a:t>
            </a:r>
            <a:endParaRPr lang="en-GB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668867" y="358776"/>
            <a:ext cx="10750551" cy="631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itelformat bearbeiten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668867" y="1052513"/>
            <a:ext cx="10894484" cy="5060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extformat bearbeiten</a:t>
            </a:r>
          </a:p>
          <a:p>
            <a:pPr lvl="1"/>
            <a:r>
              <a:rPr lang="de-DE" altLang="en-US" smtClean="0"/>
              <a:t>Zweite Ebene</a:t>
            </a:r>
          </a:p>
          <a:p>
            <a:pPr lvl="2"/>
            <a:r>
              <a:rPr lang="de-DE" altLang="en-US" smtClean="0"/>
              <a:t>Dritte Ebene</a:t>
            </a:r>
          </a:p>
          <a:p>
            <a:pPr lvl="3"/>
            <a:r>
              <a:rPr lang="de-DE" altLang="en-US" smtClean="0"/>
              <a:t>Vierte Ebene</a:t>
            </a:r>
          </a:p>
          <a:p>
            <a:pPr lvl="4"/>
            <a:r>
              <a:rPr lang="de-DE" altLang="en-US" smtClean="0"/>
              <a:t>Fünfte Ebene</a:t>
            </a:r>
          </a:p>
        </p:txBody>
      </p:sp>
      <p:sp>
        <p:nvSpPr>
          <p:cNvPr id="4" name="Rectangle 5">
            <a:extLst>
              <a:ext uri="{FF2B5EF4-FFF2-40B4-BE49-F238E27FC236}"/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-4233" y="358775"/>
            <a:ext cx="383117" cy="287338"/>
          </a:xfrm>
          <a:prstGeom prst="rect">
            <a:avLst/>
          </a:prstGeom>
          <a:solidFill>
            <a:srgbClr val="00823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1030" name="Rectangle 6">
            <a:extLst>
              <a:ext uri="{FF2B5EF4-FFF2-40B4-BE49-F238E27FC236}"/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2043834" y="0"/>
            <a:ext cx="143933" cy="6858000"/>
          </a:xfrm>
          <a:prstGeom prst="rect">
            <a:avLst/>
          </a:prstGeom>
          <a:solidFill>
            <a:srgbClr val="00823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800">
              <a:solidFill>
                <a:srgbClr val="000000"/>
              </a:solidFill>
            </a:endParaRPr>
          </a:p>
        </p:txBody>
      </p:sp>
      <p:pic>
        <p:nvPicPr>
          <p:cNvPr id="1032" name="Picture 7" descr="HDCement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9351" y="6381751"/>
            <a:ext cx="2878667" cy="18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" name="Text Box 8">
            <a:extLst>
              <a:ext uri="{FF2B5EF4-FFF2-40B4-BE49-F238E27FC236}"/>
            </a:extLst>
          </p:cNvPr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751918" y="6297614"/>
            <a:ext cx="2669116" cy="350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00" dirty="0">
                <a:solidFill>
                  <a:srgbClr val="007C36"/>
                </a:solidFill>
                <a:latin typeface="Century Gothic" pitchFamily="34" charset="0"/>
              </a:rPr>
              <a:t>AFRICA</a:t>
            </a:r>
            <a:endParaRPr lang="de-DE" sz="1700" dirty="0">
              <a:solidFill>
                <a:srgbClr val="007C36"/>
              </a:solidFill>
              <a:latin typeface="Century Gothic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2"/>
            <p:custDataLst>
              <p:tags r:id="rId17"/>
            </p:custDataLst>
          </p:nvPr>
        </p:nvSpPr>
        <p:spPr>
          <a:xfrm>
            <a:off x="6959600" y="6569075"/>
            <a:ext cx="1337733" cy="3127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5820834" y="6569075"/>
            <a:ext cx="529167" cy="2921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000"/>
            </a:lvl1pPr>
          </a:lstStyle>
          <a:p>
            <a:fld id="{6453DC23-27AF-47DC-8649-0427854BBA9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4892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</p:sldLayoutIdLst>
  <p:transition spd="slow"/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8238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8238"/>
          </a:solidFill>
          <a:latin typeface="Arial Black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8238"/>
          </a:solidFill>
          <a:latin typeface="Arial Black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8238"/>
          </a:solidFill>
          <a:latin typeface="Arial Black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8238"/>
          </a:solidFill>
          <a:latin typeface="Arial Black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8238"/>
          </a:solidFill>
          <a:latin typeface="Arial Black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8238"/>
          </a:solidFill>
          <a:latin typeface="Arial Black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8238"/>
          </a:solidFill>
          <a:latin typeface="Arial Black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8238"/>
          </a:solidFill>
          <a:latin typeface="Arial Black" pitchFamily="34" charset="0"/>
        </a:defRPr>
      </a:lvl9pPr>
    </p:titleStyle>
    <p:bodyStyle>
      <a:lvl1pPr marL="342900" indent="-342900" algn="l" rtl="0" eaLnBrk="1" fontAlgn="base" hangingPunct="1">
        <a:spcBef>
          <a:spcPct val="35000"/>
        </a:spcBef>
        <a:spcAft>
          <a:spcPct val="0"/>
        </a:spcAft>
        <a:buClr>
          <a:srgbClr val="008238"/>
        </a:buClr>
        <a:buSzPct val="85000"/>
        <a:buFont typeface="Wingdings" panose="05000000000000000000" pitchFamily="2" charset="2"/>
        <a:buChar char="n"/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35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35000"/>
        </a:spcBef>
        <a:spcAft>
          <a:spcPct val="0"/>
        </a:spcAft>
        <a:buClr>
          <a:schemeClr val="bg2"/>
        </a:buClr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-"/>
        <a:defRPr sz="12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3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3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3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3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3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0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794" name="Rectangle 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ftr" sz="quarter" idx="3"/>
            <p:custDataLst>
              <p:tags r:id="rId9"/>
            </p:custDataLst>
          </p:nvPr>
        </p:nvSpPr>
        <p:spPr bwMode="auto">
          <a:xfrm>
            <a:off x="622300" y="6523038"/>
            <a:ext cx="3953933" cy="315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mtClean="0">
                <a:solidFill>
                  <a:srgbClr val="000000"/>
                </a:solidFill>
              </a:rPr>
              <a:t>Twiga Cement.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668867" y="358776"/>
            <a:ext cx="10750551" cy="631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itelformat bearbeiten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  <p:custDataLst>
              <p:tags r:id="rId11"/>
            </p:custDataLst>
          </p:nvPr>
        </p:nvSpPr>
        <p:spPr bwMode="auto">
          <a:xfrm>
            <a:off x="668867" y="1052513"/>
            <a:ext cx="10894484" cy="5060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extformat bearbeiten</a:t>
            </a:r>
          </a:p>
          <a:p>
            <a:pPr lvl="1"/>
            <a:r>
              <a:rPr lang="de-DE" altLang="en-US" smtClean="0"/>
              <a:t>Zweite Ebene</a:t>
            </a:r>
          </a:p>
          <a:p>
            <a:pPr lvl="2"/>
            <a:r>
              <a:rPr lang="de-DE" altLang="en-US" smtClean="0"/>
              <a:t>Dritte Ebene</a:t>
            </a:r>
          </a:p>
          <a:p>
            <a:pPr lvl="3"/>
            <a:r>
              <a:rPr lang="de-DE" altLang="en-US" smtClean="0"/>
              <a:t>Vierte Ebene</a:t>
            </a:r>
          </a:p>
          <a:p>
            <a:pPr lvl="4"/>
            <a:r>
              <a:rPr lang="de-DE" altLang="en-US" smtClean="0"/>
              <a:t>Fünfte Ebene</a:t>
            </a:r>
          </a:p>
        </p:txBody>
      </p:sp>
      <p:sp>
        <p:nvSpPr>
          <p:cNvPr id="4" name="Rectangle 5">
            <a:extLst>
              <a:ext uri="{FF2B5EF4-FFF2-40B4-BE49-F238E27FC236}"/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-4233" y="358775"/>
            <a:ext cx="383117" cy="287338"/>
          </a:xfrm>
          <a:prstGeom prst="rect">
            <a:avLst/>
          </a:prstGeom>
          <a:solidFill>
            <a:srgbClr val="00823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1030" name="Rectangle 6">
            <a:extLst>
              <a:ext uri="{FF2B5EF4-FFF2-40B4-BE49-F238E27FC236}"/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2043834" y="0"/>
            <a:ext cx="143933" cy="6858000"/>
          </a:xfrm>
          <a:prstGeom prst="rect">
            <a:avLst/>
          </a:prstGeom>
          <a:solidFill>
            <a:srgbClr val="00823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800">
              <a:solidFill>
                <a:srgbClr val="000000"/>
              </a:solidFill>
            </a:endParaRPr>
          </a:p>
        </p:txBody>
      </p:sp>
      <p:pic>
        <p:nvPicPr>
          <p:cNvPr id="1032" name="Picture 7" descr="HDCement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9351" y="6381751"/>
            <a:ext cx="2878667" cy="18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" name="Text Box 8">
            <a:extLst>
              <a:ext uri="{FF2B5EF4-FFF2-40B4-BE49-F238E27FC236}"/>
            </a:extLst>
          </p:cNvPr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751918" y="6297614"/>
            <a:ext cx="2669116" cy="350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00" dirty="0">
                <a:solidFill>
                  <a:srgbClr val="007C36"/>
                </a:solidFill>
                <a:latin typeface="Century Gothic" pitchFamily="34" charset="0"/>
              </a:rPr>
              <a:t>AFRICA</a:t>
            </a:r>
            <a:endParaRPr lang="de-DE" sz="1700" dirty="0">
              <a:solidFill>
                <a:srgbClr val="007C36"/>
              </a:solidFill>
              <a:latin typeface="Century Gothic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959600" y="6569075"/>
            <a:ext cx="1337733" cy="3127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4"/>
            <p:custDataLst>
              <p:tags r:id="rId17"/>
            </p:custDataLst>
          </p:nvPr>
        </p:nvSpPr>
        <p:spPr>
          <a:xfrm>
            <a:off x="5820834" y="6569075"/>
            <a:ext cx="529167" cy="2921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00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290161E1-6D77-49C1-92ED-6C6EFD67D880}" type="slidenum">
              <a:rPr lang="en-GB" altLang="en-US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584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</p:sldLayoutIdLst>
  <p:transition spd="slow"/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8238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8238"/>
          </a:solidFill>
          <a:latin typeface="Arial Black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8238"/>
          </a:solidFill>
          <a:latin typeface="Arial Black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8238"/>
          </a:solidFill>
          <a:latin typeface="Arial Black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8238"/>
          </a:solidFill>
          <a:latin typeface="Arial Black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8238"/>
          </a:solidFill>
          <a:latin typeface="Arial Black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8238"/>
          </a:solidFill>
          <a:latin typeface="Arial Black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8238"/>
          </a:solidFill>
          <a:latin typeface="Arial Black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8238"/>
          </a:solidFill>
          <a:latin typeface="Arial Black" pitchFamily="34" charset="0"/>
        </a:defRPr>
      </a:lvl9pPr>
    </p:titleStyle>
    <p:bodyStyle>
      <a:lvl1pPr marL="342900" indent="-342900" algn="l" rtl="0" eaLnBrk="1" fontAlgn="base" hangingPunct="1">
        <a:spcBef>
          <a:spcPct val="35000"/>
        </a:spcBef>
        <a:spcAft>
          <a:spcPct val="0"/>
        </a:spcAft>
        <a:buClr>
          <a:srgbClr val="008238"/>
        </a:buClr>
        <a:buSzPct val="85000"/>
        <a:buFont typeface="Wingdings" panose="05000000000000000000" pitchFamily="2" charset="2"/>
        <a:buChar char="n"/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35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35000"/>
        </a:spcBef>
        <a:spcAft>
          <a:spcPct val="0"/>
        </a:spcAft>
        <a:buClr>
          <a:schemeClr val="bg2"/>
        </a:buClr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-"/>
        <a:defRPr sz="12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3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3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3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3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3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90948461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"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26"/>
            </p:custDataLst>
          </p:nvPr>
        </p:nvSpPr>
        <p:spPr>
          <a:xfrm>
            <a:off x="470455" y="1287062"/>
            <a:ext cx="11251092" cy="5095600"/>
          </a:xfrm>
          <a:prstGeom prst="rect">
            <a:avLst/>
          </a:prstGeom>
        </p:spPr>
        <p:txBody>
          <a:bodyPr vert="horz" lIns="83098" tIns="41552" rIns="83098" bIns="41552" rtlCol="0" anchor="t" anchorCtr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  <a:endParaRPr lang="en-US" dirty="0"/>
          </a:p>
        </p:txBody>
      </p:sp>
      <p:sp>
        <p:nvSpPr>
          <p:cNvPr id="15" name="SlideNumber"/>
          <p:cNvSpPr/>
          <p:nvPr/>
        </p:nvSpPr>
        <p:spPr>
          <a:xfrm>
            <a:off x="102752" y="6650240"/>
            <a:ext cx="401029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1831"/>
            <a:fld id="{BB69BBE8-4DB2-4642-B003-B220ACD5A2FD}" type="slidenum">
              <a:rPr lang="en-US" sz="900">
                <a:solidFill>
                  <a:srgbClr val="080808"/>
                </a:solidFill>
              </a:rPr>
              <a:pPr algn="ctr" defTabSz="891831"/>
              <a:t>‹#›</a:t>
            </a:fld>
            <a:endParaRPr lang="en-US" sz="900" dirty="0">
              <a:solidFill>
                <a:srgbClr val="080808"/>
              </a:solidFill>
            </a:endParaRPr>
          </a:p>
        </p:txBody>
      </p:sp>
      <p:sp>
        <p:nvSpPr>
          <p:cNvPr id="16" name="Notes"/>
          <p:cNvSpPr txBox="1">
            <a:spLocks noChangeArrowheads="1"/>
          </p:cNvSpPr>
          <p:nvPr/>
        </p:nvSpPr>
        <p:spPr bwMode="auto">
          <a:xfrm>
            <a:off x="225986" y="6410651"/>
            <a:ext cx="8193997" cy="1384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67356" indent="-167356" defTabSz="800708" fontAlgn="t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0" name="VCT_Marker_ID_10" hidden="1"/>
          <p:cNvSpPr/>
          <p:nvPr>
            <p:custDataLst>
              <p:tags r:id="rId27"/>
            </p:custDataLst>
          </p:nvPr>
        </p:nvSpPr>
        <p:spPr>
          <a:xfrm>
            <a:off x="1494585" y="120592"/>
            <a:ext cx="149457" cy="120579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1831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2" name="Rectangle 22"/>
          <p:cNvSpPr>
            <a:spLocks noChangeArrowheads="1"/>
          </p:cNvSpPr>
          <p:nvPr/>
        </p:nvSpPr>
        <p:spPr bwMode="auto">
          <a:xfrm>
            <a:off x="12060386" y="2"/>
            <a:ext cx="141773" cy="6858000"/>
          </a:xfrm>
          <a:prstGeom prst="rect">
            <a:avLst/>
          </a:prstGeom>
          <a:solidFill>
            <a:srgbClr val="008238"/>
          </a:solidFill>
          <a:ln>
            <a:noFill/>
          </a:ln>
          <a:effectLst/>
          <a:extLst/>
        </p:spPr>
        <p:txBody>
          <a:bodyPr wrap="none" lIns="83098" tIns="41552" rIns="83098" bIns="41552" anchor="ctr"/>
          <a:lstStyle/>
          <a:p>
            <a:pPr defTabSz="891831" eaLnBrk="0" hangingPunct="0">
              <a:defRPr/>
            </a:pPr>
            <a:endParaRPr lang="en-US" sz="1700" dirty="0">
              <a:solidFill>
                <a:srgbClr val="000000"/>
              </a:solidFill>
            </a:endParaRPr>
          </a:p>
        </p:txBody>
      </p:sp>
      <p:pic>
        <p:nvPicPr>
          <p:cNvPr id="20" name="Picture 2" descr="HC Logo Benelux CMYK"/>
          <p:cNvPicPr>
            <a:picLocks noChangeAspect="1" noChangeArrowheads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97957" y="6547466"/>
            <a:ext cx="1533808" cy="12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OfficeCode" hidden="1"/>
          <p:cNvSpPr txBox="1"/>
          <p:nvPr/>
        </p:nvSpPr>
        <p:spPr>
          <a:xfrm>
            <a:off x="9307940" y="6650489"/>
            <a:ext cx="131446" cy="76944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defTabSz="891831"/>
            <a:r>
              <a:rPr lang="en-US" sz="500" dirty="0">
                <a:solidFill>
                  <a:srgbClr val="000000"/>
                </a:solidFill>
              </a:rPr>
              <a:t>ZUR</a:t>
            </a:r>
          </a:p>
        </p:txBody>
      </p:sp>
      <p:sp>
        <p:nvSpPr>
          <p:cNvPr id="17" name="CreatedFooter" hidden="1"/>
          <p:cNvSpPr txBox="1"/>
          <p:nvPr/>
        </p:nvSpPr>
        <p:spPr>
          <a:xfrm>
            <a:off x="9677834" y="6650489"/>
            <a:ext cx="1024319" cy="76944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defTabSz="891831"/>
            <a:r>
              <a:rPr lang="en-US" sz="500" dirty="0">
                <a:solidFill>
                  <a:srgbClr val="000000"/>
                </a:solidFill>
              </a:rPr>
              <a:t>20140616-Heidelberg Cement - U ...</a:t>
            </a:r>
          </a:p>
        </p:txBody>
      </p:sp>
      <p:sp>
        <p:nvSpPr>
          <p:cNvPr id="18" name="Rectangle 5"/>
          <p:cNvSpPr>
            <a:spLocks noChangeArrowheads="1"/>
          </p:cNvSpPr>
          <p:nvPr/>
        </p:nvSpPr>
        <p:spPr bwMode="auto">
          <a:xfrm>
            <a:off x="-4233" y="358775"/>
            <a:ext cx="383117" cy="287338"/>
          </a:xfrm>
          <a:prstGeom prst="rect">
            <a:avLst/>
          </a:prstGeom>
          <a:solidFill>
            <a:srgbClr val="00823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419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8623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1" r:id="rId22"/>
  </p:sldLayoutIdLst>
  <p:hf sldNum="0" hdr="0" dt="0"/>
  <p:txStyles>
    <p:titleStyle>
      <a:lvl1pPr algn="l" defTabSz="891831" rtl="0" eaLnBrk="1" latinLnBrk="0" hangingPunct="1"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46705" marR="0" indent="-246705" algn="l" defTabSz="891598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2"/>
        </a:buClr>
        <a:buSzPts val="2400"/>
        <a:buFont typeface="Wingdings" pitchFamily="2" charset="2"/>
        <a:buChar char="§"/>
        <a:tabLst/>
        <a:defRPr kumimoji="0" lang="en-US" altLang="zh-CN" sz="18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22263" marR="0" indent="-108205" algn="l" defTabSz="891598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2"/>
        </a:buClr>
        <a:buSzPct val="113000"/>
        <a:buFont typeface="Arial" pitchFamily="34" charset="0"/>
        <a:buChar char="•"/>
        <a:tabLst/>
        <a:defRPr lang="en-CA" altLang="zh-CN" sz="16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956520" marR="0" indent="-261131" algn="l" defTabSz="891598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2"/>
        </a:buClr>
        <a:buSzPts val="2200"/>
        <a:buFont typeface="Marlett" pitchFamily="2" charset="2"/>
        <a:buChar char=""/>
        <a:tabLst/>
        <a:defRPr lang="zh-CN" altLang="en-US" sz="16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321294" marR="0" indent="-191132" algn="l" defTabSz="891831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2"/>
        </a:buClr>
        <a:buSzTx/>
        <a:buFont typeface="Verdana" pitchFamily="34" charset="0"/>
        <a:buChar char="-"/>
        <a:tabLst/>
        <a:defRPr lang="en-CA" altLang="zh-CN"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06624" indent="-222959" algn="l" defTabSz="891831" rtl="0" eaLnBrk="1" latinLnBrk="0" hangingPunct="1">
        <a:spcBef>
          <a:spcPct val="20000"/>
        </a:spcBef>
        <a:buFont typeface="Arial" pitchFamily="34" charset="0"/>
        <a:buChar char="»"/>
        <a:defRPr sz="22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452540" indent="-222959" algn="l" defTabSz="891831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98457" indent="-222959" algn="l" defTabSz="891831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44376" indent="-222959" algn="l" defTabSz="891831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90290" indent="-222959" algn="l" defTabSz="891831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183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45914" algn="l" defTabSz="89183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91831" algn="l" defTabSz="89183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37748" algn="l" defTabSz="89183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83662" algn="l" defTabSz="89183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29583" algn="l" defTabSz="89183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75499" algn="l" defTabSz="89183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21415" algn="l" defTabSz="89183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67330" algn="l" defTabSz="89183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png"/><Relationship Id="rId5" Type="http://schemas.openxmlformats.org/officeDocument/2006/relationships/image" Target="../media/image8.jpg"/><Relationship Id="rId4" Type="http://schemas.openxmlformats.org/officeDocument/2006/relationships/image" Target="../media/image7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0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4178" y="1236372"/>
            <a:ext cx="11243380" cy="1088987"/>
          </a:xfrm>
        </p:spPr>
        <p:txBody>
          <a:bodyPr>
            <a:normAutofit fontScale="90000"/>
          </a:bodyPr>
          <a:lstStyle/>
          <a:p>
            <a:pPr algn="ctr"/>
            <a:r>
              <a:rPr lang="en-GB" sz="2400" dirty="0" smtClean="0">
                <a:solidFill>
                  <a:schemeClr val="tx1"/>
                </a:solidFill>
              </a:rPr>
              <a:t/>
            </a:r>
            <a:br>
              <a:rPr lang="en-GB" sz="2400" dirty="0" smtClean="0">
                <a:solidFill>
                  <a:schemeClr val="tx1"/>
                </a:solidFill>
              </a:rPr>
            </a:br>
            <a:r>
              <a:rPr lang="en-GB" sz="2400" dirty="0">
                <a:solidFill>
                  <a:schemeClr val="tx1"/>
                </a:solidFill>
              </a:rPr>
              <a:t/>
            </a:r>
            <a:br>
              <a:rPr lang="en-GB" sz="2400" dirty="0">
                <a:solidFill>
                  <a:schemeClr val="tx1"/>
                </a:solidFill>
              </a:rPr>
            </a:br>
            <a:r>
              <a:rPr lang="en-GB" sz="2400" dirty="0" smtClean="0">
                <a:solidFill>
                  <a:schemeClr val="tx1"/>
                </a:solidFill>
              </a:rPr>
              <a:t/>
            </a:r>
            <a:br>
              <a:rPr lang="en-GB" sz="2400" dirty="0" smtClean="0">
                <a:solidFill>
                  <a:schemeClr val="tx1"/>
                </a:solidFill>
              </a:rPr>
            </a:br>
            <a:r>
              <a:rPr lang="en-GB" sz="2400" dirty="0" smtClean="0">
                <a:solidFill>
                  <a:schemeClr val="tx1"/>
                </a:solidFill>
              </a:rPr>
              <a:t>TPCPLC Complaint management System .</a:t>
            </a:r>
            <a:br>
              <a:rPr lang="en-GB" sz="2400" dirty="0" smtClean="0">
                <a:solidFill>
                  <a:schemeClr val="tx1"/>
                </a:solidFill>
              </a:rPr>
            </a:br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ctr"/>
            <a:r>
              <a:rPr lang="en-GB" b="1" dirty="0" smtClean="0">
                <a:solidFill>
                  <a:schemeClr val="tx1"/>
                </a:solidFill>
              </a:rPr>
              <a:t>Developing complaint management system IT tool 2020</a:t>
            </a:r>
            <a:endParaRPr lang="en-GB" b="1" dirty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742" y="3997866"/>
            <a:ext cx="2188897" cy="242869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9639" y="6022423"/>
            <a:ext cx="677971" cy="404135"/>
          </a:xfrm>
          <a:prstGeom prst="rect">
            <a:avLst/>
          </a:prstGeom>
          <a:blipFill dpi="0" rotWithShape="1">
            <a:blip r:embed="rId5">
              <a:alphaModFix amt="99000"/>
            </a:blip>
            <a:srcRect/>
            <a:stretch>
              <a:fillRect/>
            </a:stretch>
          </a:blipFill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41756" y="6022423"/>
            <a:ext cx="664522" cy="36579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387921" y="5738302"/>
            <a:ext cx="3754993" cy="688256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en-GB" sz="2000" dirty="0" smtClean="0"/>
              <a:t>Yusuph Kajela</a:t>
            </a:r>
          </a:p>
          <a:p>
            <a:r>
              <a:rPr lang="en-GB" sz="2000" dirty="0" smtClean="0"/>
              <a:t>Promotion and Marketing Officer</a:t>
            </a:r>
          </a:p>
        </p:txBody>
      </p:sp>
    </p:spTree>
    <p:extLst>
      <p:ext uri="{BB962C8B-B14F-4D97-AF65-F5344CB8AC3E}">
        <p14:creationId xmlns:p14="http://schemas.microsoft.com/office/powerpoint/2010/main" val="39987050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>
                <a:solidFill>
                  <a:srgbClr val="00B050"/>
                </a:solidFill>
              </a:rPr>
              <a:t>Content of the IT tool</a:t>
            </a:r>
            <a:endParaRPr lang="en-GB" b="1" dirty="0">
              <a:solidFill>
                <a:srgbClr val="00B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1400" dirty="0" smtClean="0"/>
              <a:t>Complaint Register </a:t>
            </a:r>
          </a:p>
          <a:p>
            <a:r>
              <a:rPr lang="en-GB" sz="1400" dirty="0" smtClean="0"/>
              <a:t>Register complaint </a:t>
            </a:r>
          </a:p>
          <a:p>
            <a:r>
              <a:rPr lang="en-GB" sz="1400" dirty="0" smtClean="0"/>
              <a:t>Assign to </a:t>
            </a:r>
          </a:p>
          <a:p>
            <a:r>
              <a:rPr lang="en-GB" sz="1400" dirty="0" smtClean="0"/>
              <a:t>Close the complaint</a:t>
            </a:r>
          </a:p>
          <a:p>
            <a:r>
              <a:rPr lang="en-GB" sz="1400" dirty="0" smtClean="0"/>
              <a:t>Financial impact </a:t>
            </a:r>
          </a:p>
          <a:p>
            <a:endParaRPr lang="en-GB" sz="1400" dirty="0" smtClean="0"/>
          </a:p>
          <a:p>
            <a:pPr marL="0" indent="0">
              <a:buNone/>
            </a:pPr>
            <a:r>
              <a:rPr lang="en-GB" sz="1400" dirty="0" smtClean="0"/>
              <a:t>Manage Complaint</a:t>
            </a:r>
          </a:p>
          <a:p>
            <a:pPr marL="0" indent="0">
              <a:buNone/>
            </a:pPr>
            <a:r>
              <a:rPr lang="en-GB" sz="1400" dirty="0" smtClean="0"/>
              <a:t> </a:t>
            </a:r>
          </a:p>
          <a:p>
            <a:r>
              <a:rPr lang="en-GB" sz="1400" dirty="0" smtClean="0"/>
              <a:t>Review the complaints by its status</a:t>
            </a:r>
          </a:p>
          <a:p>
            <a:r>
              <a:rPr lang="en-GB" sz="1400" dirty="0" smtClean="0"/>
              <a:t>Not processed, Pending complaint, Closed complaints.</a:t>
            </a:r>
          </a:p>
          <a:p>
            <a:pPr marL="0" indent="0">
              <a:buNone/>
            </a:pPr>
            <a:r>
              <a:rPr lang="en-GB" sz="1400" dirty="0" smtClean="0"/>
              <a:t>Dash board</a:t>
            </a:r>
          </a:p>
          <a:p>
            <a:pPr marL="0" indent="0">
              <a:buNone/>
            </a:pPr>
            <a:endParaRPr lang="en-GB" sz="1400" dirty="0" smtClean="0"/>
          </a:p>
          <a:p>
            <a:r>
              <a:rPr lang="en-GB" sz="1400" dirty="0" smtClean="0"/>
              <a:t>Report review ,graphs </a:t>
            </a:r>
          </a:p>
          <a:p>
            <a:r>
              <a:rPr lang="en-GB" sz="1400" dirty="0" smtClean="0"/>
              <a:t>Account setting </a:t>
            </a:r>
          </a:p>
          <a:p>
            <a:r>
              <a:rPr lang="en-GB" sz="1400" dirty="0" smtClean="0"/>
              <a:t>Complaint history</a:t>
            </a:r>
          </a:p>
          <a:p>
            <a:endParaRPr lang="en-GB" sz="1400" dirty="0" smtClean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81096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0B050"/>
                </a:solidFill>
              </a:rPr>
              <a:t>Complaint Register </a:t>
            </a:r>
            <a:br>
              <a:rPr lang="en-GB" dirty="0">
                <a:solidFill>
                  <a:srgbClr val="00B050"/>
                </a:solidFill>
              </a:rPr>
            </a:br>
            <a:r>
              <a:rPr lang="en-GB" dirty="0"/>
              <a:t/>
            </a:r>
            <a:br>
              <a:rPr lang="en-GB" dirty="0"/>
            </a:b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1400" dirty="0"/>
              <a:t>Register complaint </a:t>
            </a:r>
          </a:p>
          <a:p>
            <a:pPr marL="0" indent="0">
              <a:buNone/>
            </a:pPr>
            <a:r>
              <a:rPr lang="en-GB" sz="1400" dirty="0" smtClean="0"/>
              <a:t>During registering the complaint you should include the following details </a:t>
            </a:r>
          </a:p>
          <a:p>
            <a:pPr marL="0" indent="0">
              <a:buNone/>
            </a:pPr>
            <a:endParaRPr lang="en-GB" sz="1400" dirty="0" smtClean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100647601"/>
              </p:ext>
            </p:extLst>
          </p:nvPr>
        </p:nvGraphicFramePr>
        <p:xfrm>
          <a:off x="2021982" y="2137893"/>
          <a:ext cx="7237927" cy="44560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59909" y="4331621"/>
            <a:ext cx="2371725" cy="193357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9349822" y="3974752"/>
            <a:ext cx="2254043" cy="2630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GB" sz="1200" dirty="0" smtClean="0"/>
              <a:t>Complaints can be received via </a:t>
            </a:r>
          </a:p>
        </p:txBody>
      </p:sp>
    </p:spTree>
    <p:extLst>
      <p:ext uri="{BB962C8B-B14F-4D97-AF65-F5344CB8AC3E}">
        <p14:creationId xmlns:p14="http://schemas.microsoft.com/office/powerpoint/2010/main" val="22425569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B050"/>
                </a:solidFill>
              </a:rPr>
              <a:t>Nature of complaints</a:t>
            </a:r>
            <a:endParaRPr lang="en-GB" dirty="0">
              <a:solidFill>
                <a:srgbClr val="00B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GB" sz="1200" dirty="0" smtClean="0"/>
          </a:p>
          <a:p>
            <a:r>
              <a:rPr lang="en-GB" sz="1200" dirty="0" smtClean="0"/>
              <a:t>The complaint should be clear identified its nature for easy follow ups and we currently group into the following nature</a:t>
            </a:r>
          </a:p>
          <a:p>
            <a:pPr marL="0" indent="0">
              <a:buNone/>
            </a:pPr>
            <a:endParaRPr lang="en-GB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3271565"/>
              </p:ext>
            </p:extLst>
          </p:nvPr>
        </p:nvGraphicFramePr>
        <p:xfrm>
          <a:off x="503781" y="2305316"/>
          <a:ext cx="10159925" cy="3709121"/>
        </p:xfrm>
        <a:graphic>
          <a:graphicData uri="http://schemas.openxmlformats.org/drawingml/2006/table">
            <a:tbl>
              <a:tblPr/>
              <a:tblGrid>
                <a:gridCol w="4742978"/>
                <a:gridCol w="5416947"/>
              </a:tblGrid>
              <a:tr h="277836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ature of Complaint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94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atch Number Proble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ustomer servi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</a:tr>
              <a:tr h="26394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ice &amp; bonu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rong invoice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94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ate deliver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ement loss due to improper fixin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</a:tr>
              <a:tr h="26394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uality of ceme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ccount balance Reconciliat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94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uality of bag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cumentat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</a:tr>
              <a:tr h="26394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olidified Ceme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mpensat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94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nder Weigh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amage of Propert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</a:tr>
              <a:tr h="26394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fun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riving under influence of alcoho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94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rong deliver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roper seal fixin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</a:tr>
              <a:tr h="26394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ver charge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issing Bag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94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omotion &amp;adversime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elay on loadin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</a:tr>
              <a:tr h="26394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heft of ceme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amage of Properti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94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tribution agreement contradiction  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61009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0455" y="123068"/>
            <a:ext cx="11572804" cy="834431"/>
          </a:xfrm>
        </p:spPr>
        <p:txBody>
          <a:bodyPr/>
          <a:lstStyle/>
          <a:p>
            <a:r>
              <a:rPr lang="en-GB" dirty="0">
                <a:solidFill>
                  <a:srgbClr val="00B050"/>
                </a:solidFill>
              </a:rPr>
              <a:t>Assign to </a:t>
            </a:r>
            <a:br>
              <a:rPr lang="en-GB" dirty="0">
                <a:solidFill>
                  <a:srgbClr val="00B050"/>
                </a:solidFill>
              </a:rPr>
            </a:br>
            <a:endParaRPr lang="en-GB" dirty="0">
              <a:solidFill>
                <a:srgbClr val="00B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1200" dirty="0" smtClean="0"/>
              <a:t>After a clear record of a complaint we should assign it to the responsible persons for investigations and findings </a:t>
            </a:r>
          </a:p>
          <a:p>
            <a:r>
              <a:rPr lang="en-GB" sz="1200" dirty="0" smtClean="0"/>
              <a:t>The assign section should be via email direct-This will allow the user to fulfil the following</a:t>
            </a:r>
            <a:r>
              <a:rPr lang="en-GB" dirty="0" smtClean="0"/>
              <a:t> </a:t>
            </a:r>
          </a:p>
          <a:p>
            <a:pPr>
              <a:buFontTx/>
              <a:buChar char="-"/>
            </a:pPr>
            <a:endParaRPr lang="en-GB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098587004"/>
              </p:ext>
            </p:extLst>
          </p:nvPr>
        </p:nvGraphicFramePr>
        <p:xfrm>
          <a:off x="1424453" y="1969694"/>
          <a:ext cx="7772556" cy="47425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10619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B050"/>
                </a:solidFill>
              </a:rPr>
              <a:t>Manage Status of the </a:t>
            </a:r>
            <a:r>
              <a:rPr lang="en-GB" dirty="0">
                <a:solidFill>
                  <a:srgbClr val="00B050"/>
                </a:solidFill>
              </a:rPr>
              <a:t>Complaint </a:t>
            </a:r>
            <a:r>
              <a:rPr lang="en-GB" dirty="0" smtClean="0">
                <a:solidFill>
                  <a:srgbClr val="00B050"/>
                </a:solidFill>
              </a:rPr>
              <a:t>  </a:t>
            </a:r>
            <a:r>
              <a:rPr lang="en-GB" dirty="0">
                <a:solidFill>
                  <a:srgbClr val="00B050"/>
                </a:solidFill>
              </a:rPr>
              <a:t/>
            </a:r>
            <a:br>
              <a:rPr lang="en-GB" dirty="0">
                <a:solidFill>
                  <a:srgbClr val="00B050"/>
                </a:solidFill>
              </a:rPr>
            </a:br>
            <a:endParaRPr lang="en-GB" dirty="0">
              <a:solidFill>
                <a:srgbClr val="00B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1400" dirty="0" smtClean="0"/>
              <a:t>The allowed tab will help to review its complaint by its status </a:t>
            </a:r>
          </a:p>
          <a:p>
            <a:pPr>
              <a:buFontTx/>
              <a:buChar char="-"/>
            </a:pPr>
            <a:r>
              <a:rPr lang="en-GB" sz="1400" dirty="0" smtClean="0"/>
              <a:t>Open </a:t>
            </a:r>
          </a:p>
          <a:p>
            <a:pPr>
              <a:buFontTx/>
              <a:buChar char="-"/>
            </a:pPr>
            <a:r>
              <a:rPr lang="en-GB" sz="1400" dirty="0" smtClean="0"/>
              <a:t>In progress </a:t>
            </a:r>
          </a:p>
          <a:p>
            <a:pPr>
              <a:buFontTx/>
              <a:buChar char="-"/>
            </a:pPr>
            <a:r>
              <a:rPr lang="en-GB" sz="1400" dirty="0" smtClean="0"/>
              <a:t>Closed </a:t>
            </a:r>
          </a:p>
          <a:p>
            <a:pPr>
              <a:buFontTx/>
              <a:buChar char="-"/>
            </a:pPr>
            <a:r>
              <a:rPr lang="en-GB" sz="1400" dirty="0" smtClean="0"/>
              <a:t>Pending for approval </a:t>
            </a:r>
          </a:p>
          <a:p>
            <a:pPr marL="0" indent="0">
              <a:buNone/>
            </a:pPr>
            <a:endParaRPr lang="en-GB" dirty="0" smtClean="0"/>
          </a:p>
          <a:p>
            <a:pPr>
              <a:buFontTx/>
              <a:buChar char="-"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0184" y="2184768"/>
            <a:ext cx="5591350" cy="419789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259" y="3070452"/>
            <a:ext cx="5510938" cy="3406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1589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B050"/>
                </a:solidFill>
              </a:rPr>
              <a:t>Reports and Analytical home</a:t>
            </a:r>
            <a:endParaRPr lang="en-GB" dirty="0">
              <a:solidFill>
                <a:srgbClr val="00B050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GB" sz="1400" dirty="0" smtClean="0"/>
          </a:p>
          <a:p>
            <a:r>
              <a:rPr lang="en-GB" sz="1400" dirty="0" smtClean="0"/>
              <a:t>Report </a:t>
            </a:r>
            <a:r>
              <a:rPr lang="en-GB" sz="1400" dirty="0"/>
              <a:t>review </a:t>
            </a:r>
            <a:r>
              <a:rPr lang="en-GB" sz="1400" dirty="0" smtClean="0"/>
              <a:t>,</a:t>
            </a:r>
          </a:p>
          <a:p>
            <a:r>
              <a:rPr lang="en-GB" sz="1400" dirty="0"/>
              <a:t>G</a:t>
            </a:r>
            <a:r>
              <a:rPr lang="en-GB" sz="1400" dirty="0" smtClean="0"/>
              <a:t>raphs </a:t>
            </a:r>
            <a:endParaRPr lang="en-GB" sz="1400" dirty="0"/>
          </a:p>
          <a:p>
            <a:r>
              <a:rPr lang="en-GB" sz="1400" dirty="0" smtClean="0"/>
              <a:t>Complaint history</a:t>
            </a:r>
            <a:endParaRPr lang="en-GB" sz="14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82032" y="2962140"/>
            <a:ext cx="6978351" cy="296976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1619" y="3220899"/>
            <a:ext cx="4416296" cy="316176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87357" y="99327"/>
            <a:ext cx="4334190" cy="2684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1253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183" y="215036"/>
            <a:ext cx="11289166" cy="603228"/>
          </a:xfrm>
        </p:spPr>
        <p:txBody>
          <a:bodyPr/>
          <a:lstStyle/>
          <a:p>
            <a:r>
              <a:rPr lang="en-GB" dirty="0">
                <a:solidFill>
                  <a:srgbClr val="00B050"/>
                </a:solidFill>
              </a:rPr>
              <a:t> </a:t>
            </a:r>
            <a:r>
              <a:rPr lang="en-GB" dirty="0" smtClean="0">
                <a:solidFill>
                  <a:srgbClr val="00B050"/>
                </a:solidFill>
              </a:rPr>
              <a:t>  Admistration </a:t>
            </a:r>
            <a:r>
              <a:rPr lang="en-GB" dirty="0">
                <a:solidFill>
                  <a:srgbClr val="00B050"/>
                </a:solidFill>
              </a:rPr>
              <a:t>–Setup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1400" dirty="0" smtClean="0"/>
              <a:t>This is to allow account setup for the users </a:t>
            </a:r>
          </a:p>
          <a:p>
            <a:r>
              <a:rPr lang="en-GB" sz="1400" dirty="0" smtClean="0"/>
              <a:t>Add contact of other users </a:t>
            </a:r>
          </a:p>
          <a:p>
            <a:r>
              <a:rPr lang="en-GB" sz="1400" dirty="0" smtClean="0"/>
              <a:t>Monitoring access to the system 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86566" y="2043306"/>
            <a:ext cx="3705434" cy="409466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86566" y="215036"/>
            <a:ext cx="2867025" cy="15906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1065" y="2616020"/>
            <a:ext cx="6980350" cy="3926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9157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JjtGWV_0qvJA14818y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vLTuO9A0ul9sKWyrUWd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vzCpOJMkq._65pmyT2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3QQrDElk2VpeNCTIQS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6una5yZEahdVB_FcjH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8TpmuMMkC1EHBkcM433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scdWkHSEK1DQfYnS0H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JjtGWV_0qvJA14818yf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8TpmuMMkC1EHBkcM433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8TpmuMMkC1EHBkcM433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scdWkHSEK1DQfYnS0HI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JjtGWV_0qvJA14818yf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8TpmuMMkC1EHBkcM433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scdWkHSEK1DQfYnS0H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JjtGWV_0qvJA14818y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8TpmuMMkC1EHBkcM433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scdWkHSEK1DQfYnS0HI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JjtGWV_0qvJA14818yf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8TpmuMMkC1EHBkcM433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9HtQG50qkSCc06q9JpP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9HtQG50qkSCc06q9JpPy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dhbHW3.kW95IaIE4cP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vLTuO9A0ul9sKWyrUWd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vzCpOJMkq._65pmyT2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3QQrDElk2VpeNCTIQSh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6una5yZEahdVB_FcjHq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scdWkHSEK1DQfYnS0HI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JjtGWV_0qvJA14818yf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vLTuO9A0ul9sKWyrUW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dhbHW3.kW95IaIE4cPD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vzCpOJMkq._65pmyT2t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3QQrDElk2VpeNCTIQSh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6una5yZEahdVB_FcjHq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8TpmuMMkC1EHBkcM433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scdWkHSEK1DQfYnS0HI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JjtGWV_0qvJA14818yf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8TpmuMMkC1EHBkcM433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scdWkHSEK1DQfYnS0HI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JjtGWV_0qvJA14818yf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8TpmuMMkC1EHBkcM433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vLTuO9A0ul9sKWyrUWd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scdWkHSEK1DQfYnS0HI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JjtGWV_0qvJA14818yf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8TpmuMMkC1EHBkcM433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scdWkHSEK1DQfYnS0HI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JjtGWV_0qvJA14818yf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/17/2012 11:08:10 AM"/>
  <p:tag name="VCT-TEMPLATE" val="Bain A4.potx"/>
  <p:tag name="VCTMASTER" val="Bain A4"/>
  <p:tag name="VCTORDER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vzCpOJMkq._65pmyT2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3QQrDElk2VpeNCTIQS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6una5yZEahdVB_FcjH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scdWkHSEK1DQfYnS0HIw"/>
</p:tagLst>
</file>

<file path=ppt/theme/theme1.xml><?xml version="1.0" encoding="utf-8"?>
<a:theme xmlns:a="http://schemas.openxmlformats.org/drawingml/2006/main" name="Group_Template">
  <a:themeElements>
    <a:clrScheme name="Group_Template 13">
      <a:dk1>
        <a:srgbClr val="000000"/>
      </a:dk1>
      <a:lt1>
        <a:srgbClr val="FFFFFF"/>
      </a:lt1>
      <a:dk2>
        <a:srgbClr val="007C36"/>
      </a:dk2>
      <a:lt2>
        <a:srgbClr val="777777"/>
      </a:lt2>
      <a:accent1>
        <a:srgbClr val="C0C0C0"/>
      </a:accent1>
      <a:accent2>
        <a:srgbClr val="74B690"/>
      </a:accent2>
      <a:accent3>
        <a:srgbClr val="FFFFFF"/>
      </a:accent3>
      <a:accent4>
        <a:srgbClr val="000000"/>
      </a:accent4>
      <a:accent5>
        <a:srgbClr val="DCDCDC"/>
      </a:accent5>
      <a:accent6>
        <a:srgbClr val="68A582"/>
      </a:accent6>
      <a:hlink>
        <a:srgbClr val="6386C1"/>
      </a:hlink>
      <a:folHlink>
        <a:srgbClr val="0D386F"/>
      </a:folHlink>
    </a:clrScheme>
    <a:fontScheme name="Group_Template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Group_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13">
        <a:dk1>
          <a:srgbClr val="000000"/>
        </a:dk1>
        <a:lt1>
          <a:srgbClr val="FFFFFF"/>
        </a:lt1>
        <a:dk2>
          <a:srgbClr val="007C36"/>
        </a:dk2>
        <a:lt2>
          <a:srgbClr val="777777"/>
        </a:lt2>
        <a:accent1>
          <a:srgbClr val="C0C0C0"/>
        </a:accent1>
        <a:accent2>
          <a:srgbClr val="74B690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68A582"/>
        </a:accent6>
        <a:hlink>
          <a:srgbClr val="6386C1"/>
        </a:hlink>
        <a:folHlink>
          <a:srgbClr val="0D386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Group_Template">
  <a:themeElements>
    <a:clrScheme name="Group_Template 13">
      <a:dk1>
        <a:srgbClr val="000000"/>
      </a:dk1>
      <a:lt1>
        <a:srgbClr val="FFFFFF"/>
      </a:lt1>
      <a:dk2>
        <a:srgbClr val="007C36"/>
      </a:dk2>
      <a:lt2>
        <a:srgbClr val="777777"/>
      </a:lt2>
      <a:accent1>
        <a:srgbClr val="C0C0C0"/>
      </a:accent1>
      <a:accent2>
        <a:srgbClr val="74B690"/>
      </a:accent2>
      <a:accent3>
        <a:srgbClr val="FFFFFF"/>
      </a:accent3>
      <a:accent4>
        <a:srgbClr val="000000"/>
      </a:accent4>
      <a:accent5>
        <a:srgbClr val="DCDCDC"/>
      </a:accent5>
      <a:accent6>
        <a:srgbClr val="68A582"/>
      </a:accent6>
      <a:hlink>
        <a:srgbClr val="6386C1"/>
      </a:hlink>
      <a:folHlink>
        <a:srgbClr val="0D386F"/>
      </a:folHlink>
    </a:clrScheme>
    <a:fontScheme name="Group_Template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Group_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13">
        <a:dk1>
          <a:srgbClr val="000000"/>
        </a:dk1>
        <a:lt1>
          <a:srgbClr val="FFFFFF"/>
        </a:lt1>
        <a:dk2>
          <a:srgbClr val="007C36"/>
        </a:dk2>
        <a:lt2>
          <a:srgbClr val="777777"/>
        </a:lt2>
        <a:accent1>
          <a:srgbClr val="C0C0C0"/>
        </a:accent1>
        <a:accent2>
          <a:srgbClr val="74B690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68A582"/>
        </a:accent6>
        <a:hlink>
          <a:srgbClr val="6386C1"/>
        </a:hlink>
        <a:folHlink>
          <a:srgbClr val="0D386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5_Heidelberg">
  <a:themeElements>
    <a:clrScheme name="Heidelberg">
      <a:dk1>
        <a:srgbClr val="000000"/>
      </a:dk1>
      <a:lt1>
        <a:srgbClr val="FFFFFF"/>
      </a:lt1>
      <a:dk2>
        <a:srgbClr val="007C36"/>
      </a:dk2>
      <a:lt2>
        <a:srgbClr val="777777"/>
      </a:lt2>
      <a:accent1>
        <a:srgbClr val="C0C0C0"/>
      </a:accent1>
      <a:accent2>
        <a:srgbClr val="74B690"/>
      </a:accent2>
      <a:accent3>
        <a:srgbClr val="FFFFFF"/>
      </a:accent3>
      <a:accent4>
        <a:srgbClr val="C0C0C0"/>
      </a:accent4>
      <a:accent5>
        <a:srgbClr val="DCDCDC"/>
      </a:accent5>
      <a:accent6>
        <a:srgbClr val="68A582"/>
      </a:accent6>
      <a:hlink>
        <a:srgbClr val="6386C1"/>
      </a:hlink>
      <a:folHlink>
        <a:srgbClr val="0D386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19050">
          <a:noFill/>
        </a:ln>
      </a:spPr>
      <a:bodyPr lIns="0" tIns="0" rIns="0" bIns="0" rtlCol="0" anchor="ctr"/>
      <a:lstStyle>
        <a:defPPr algn="ctr"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mo</Template>
  <TotalTime>1278</TotalTime>
  <Words>339</Words>
  <Application>Microsoft Office PowerPoint</Application>
  <PresentationFormat>Widescreen</PresentationFormat>
  <Paragraphs>91</Paragraphs>
  <Slides>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0" baseType="lpstr">
      <vt:lpstr>Arial</vt:lpstr>
      <vt:lpstr>Arial Black</vt:lpstr>
      <vt:lpstr>Calibri</vt:lpstr>
      <vt:lpstr>Century Gothic</vt:lpstr>
      <vt:lpstr>Marlett</vt:lpstr>
      <vt:lpstr>黑体</vt:lpstr>
      <vt:lpstr>Verdana</vt:lpstr>
      <vt:lpstr>Wingdings</vt:lpstr>
      <vt:lpstr>Group_Template</vt:lpstr>
      <vt:lpstr>1_Group_Template</vt:lpstr>
      <vt:lpstr>5_Heidelberg</vt:lpstr>
      <vt:lpstr>think-cell Slide</vt:lpstr>
      <vt:lpstr>   TPCPLC Complaint management System . </vt:lpstr>
      <vt:lpstr>Content of the IT tool</vt:lpstr>
      <vt:lpstr>Complaint Register   </vt:lpstr>
      <vt:lpstr>Nature of complaints</vt:lpstr>
      <vt:lpstr>Assign to  </vt:lpstr>
      <vt:lpstr>Manage Status of the Complaint    </vt:lpstr>
      <vt:lpstr>Reports and Analytical home</vt:lpstr>
      <vt:lpstr>   Admistration –Setup</vt:lpstr>
    </vt:vector>
  </TitlesOfParts>
  <Company>HeidelbergCement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plaint management</dc:title>
  <dc:creator>Kajela, Yusuph A (Dar Es Salaam) TZA</dc:creator>
  <cp:lastModifiedBy>Kajela, Yusuph A (Dar Es Salaam) TZA</cp:lastModifiedBy>
  <cp:revision>31</cp:revision>
  <dcterms:created xsi:type="dcterms:W3CDTF">2020-02-18T10:44:10Z</dcterms:created>
  <dcterms:modified xsi:type="dcterms:W3CDTF">2020-04-08T09:21:43Z</dcterms:modified>
</cp:coreProperties>
</file>